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8.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 id="2147483755" r:id="rId5"/>
    <p:sldMasterId id="2147483780" r:id="rId6"/>
    <p:sldMasterId id="2147483799" r:id="rId7"/>
    <p:sldMasterId id="2147483851" r:id="rId8"/>
    <p:sldMasterId id="2147483877" r:id="rId9"/>
    <p:sldMasterId id="2147483897" r:id="rId10"/>
    <p:sldMasterId id="2147483912" r:id="rId11"/>
    <p:sldMasterId id="2147483953" r:id="rId12"/>
  </p:sldMasterIdLst>
  <p:notesMasterIdLst>
    <p:notesMasterId r:id="rId43"/>
  </p:notesMasterIdLst>
  <p:sldIdLst>
    <p:sldId id="2346" r:id="rId13"/>
    <p:sldId id="2537" r:id="rId14"/>
    <p:sldId id="2301" r:id="rId15"/>
    <p:sldId id="2303" r:id="rId16"/>
    <p:sldId id="2347" r:id="rId17"/>
    <p:sldId id="2499" r:id="rId18"/>
    <p:sldId id="2505" r:id="rId19"/>
    <p:sldId id="2525" r:id="rId20"/>
    <p:sldId id="1827" r:id="rId21"/>
    <p:sldId id="2526" r:id="rId22"/>
    <p:sldId id="451" r:id="rId23"/>
    <p:sldId id="452" r:id="rId24"/>
    <p:sldId id="2528" r:id="rId25"/>
    <p:sldId id="2506" r:id="rId26"/>
    <p:sldId id="2293" r:id="rId27"/>
    <p:sldId id="2294" r:id="rId28"/>
    <p:sldId id="2295" r:id="rId29"/>
    <p:sldId id="2517" r:id="rId30"/>
    <p:sldId id="2496" r:id="rId31"/>
    <p:sldId id="2507" r:id="rId32"/>
    <p:sldId id="2344" r:id="rId33"/>
    <p:sldId id="2345" r:id="rId34"/>
    <p:sldId id="2488" r:id="rId35"/>
    <p:sldId id="2494" r:id="rId36"/>
    <p:sldId id="2500" r:id="rId37"/>
    <p:sldId id="2514" r:id="rId38"/>
    <p:sldId id="874" r:id="rId39"/>
    <p:sldId id="876" r:id="rId40"/>
    <p:sldId id="2482" r:id="rId41"/>
    <p:sldId id="2538"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A0B4A14-7F6D-4728-80C5-61C7FF281B6F}">
          <p14:sldIdLst>
            <p14:sldId id="2346"/>
            <p14:sldId id="2537"/>
            <p14:sldId id="2301"/>
            <p14:sldId id="2303"/>
            <p14:sldId id="2347"/>
            <p14:sldId id="2499"/>
            <p14:sldId id="2505"/>
            <p14:sldId id="2525"/>
            <p14:sldId id="1827"/>
            <p14:sldId id="2526"/>
            <p14:sldId id="451"/>
            <p14:sldId id="452"/>
            <p14:sldId id="2528"/>
            <p14:sldId id="2506"/>
            <p14:sldId id="2293"/>
            <p14:sldId id="2294"/>
            <p14:sldId id="2295"/>
            <p14:sldId id="2517"/>
            <p14:sldId id="2496"/>
            <p14:sldId id="2507"/>
            <p14:sldId id="2344"/>
            <p14:sldId id="2345"/>
            <p14:sldId id="2488"/>
            <p14:sldId id="2494"/>
            <p14:sldId id="2500"/>
            <p14:sldId id="2514"/>
            <p14:sldId id="874"/>
            <p14:sldId id="876"/>
            <p14:sldId id="2482"/>
            <p14:sldId id="253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FFFFFF"/>
    <a:srgbClr val="7FCC27"/>
    <a:srgbClr val="151628"/>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9" autoAdjust="0"/>
    <p:restoredTop sz="58390" autoAdjust="0"/>
  </p:normalViewPr>
  <p:slideViewPr>
    <p:cSldViewPr snapToGrid="0">
      <p:cViewPr varScale="1">
        <p:scale>
          <a:sx n="67" d="100"/>
          <a:sy n="67" d="100"/>
        </p:scale>
        <p:origin x="227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03"/>
    </inkml:context>
    <inkml:brush xml:id="br0">
      <inkml:brushProperty name="width" value="0.05" units="cm"/>
      <inkml:brushProperty name="height" value="0.05" units="cm"/>
    </inkml:brush>
  </inkml:definitions>
  <inkml:trace contextRef="#ctx0" brushRef="#br0">82 850 8320,'-4'16'1121,"1"-7"-430,1-2-179,0-1-79,1-5-185,0 1-46,-1 1 89,-1 0-106,-5 2 171,5-4-190,1 0 61,0-1 88,0 1 105,2-2-164,-1 1 34,1 0 36,-1-1 40,1 0 33,-1-1-46,1 0-44,-1 0-42,1 0-38,0 0-35,0-3 100,0 2-170,1 1-33,0-4 13,0 0-73,2-6-15,-2 7 58,0 2 4,-1 1 36,5-19 393,-1 0-48,1 0-47,0 0-43,0 1-42,1-1-38,-1 0-37,1 0-35,1-4 3,0 0-42,0 0-37,0 0-34,2-5-16,0 0-34,2-6-25,6-17-31,16-57-10,-22 73 52,0 1 45,-3 9-55,10-35 3,-12 43-35,0-1 0,2 1 0,0 1 0,1-1 0,1 2 0,3-3-1,-12 18 5,0 0-1,0 0 1,1 0 0,-1 0 0,0 1-1,1-1 1,0 1 0,-1-1 0,1 1-1,0 0 1,-1-1 0,1 1 0,0 0-1,0 0 1,0 0 0,0 0 0,0 1-1,1-1 1,-1 1 0,2-1-5,-2 1 4,-1 0 0,1 1 0,0-1 0,0 1 0,-1 0 0,1-1 0,0 1 0,-1 0 0,1 0 0,0 0 0,-1 0 0,1 0 0,-1 0 0,0 0 0,1 1 0,-1-1 0,0 1 0,0-1 0,1 1-4,3 6 12,0-1-1,-1 0 1,0 1-1,2 6-11,11 30 3,-16-41-4,32 92 53,-1 2-35,71 196-57,-43-150 40,11-4 67,-58-118-28,15 30 93,-27-47-105,1 0-1,-1-1 1,0 1-1,0 0 1,0 0-1,-1 0 1,1 3-27,-1-6 9,0-1-1,0 1 1,0 0 0,0-1-1,-1 1 1,1-1 0,0 1-1,0 0 1,0-1 0,0 1-1,-1-1 1,1 1-1,0-1 1,-1 1 0,1-1-1,0 1 1,-1-1 0,1 1-1,-1-1 1,1 1-9,-13 3 84,-18-6-43,24 1-30,-22-2-72,0 0 37,-29-2 74,-12 0 144,-35 2 256,0 5 23,35 3-236,11 2-135,30-3-94,0 1-34,23-4 28,-4 1 44,-1 0 12,4-1-49,1 0-36,0 0-45,1-1-31,1 1-46,0-1-52,1 0-61,1 0 18,1 0-39,0-1-381,1-1-107,2 0-77,-1 0 297,1 1 40,0-1 37,0 0 35,2-1-339,1 0 118,-2 1 315,0 1 34,3-2-222,2-1 17,4 0-99,2 0 18,9-2-145,-23 6 737</inkml:trace>
  <inkml:trace contextRef="#ctx0" brushRef="#br0" timeOffset="1">121 1766 12032,'-3'-1'866,"0"0"-73,0 1-68,0 0-68,1 1-63,0-1-60,0 2-58,0-1-55,1 0-51,-1 1-49,1 0-45,0 0-44,0 1-39,0-1-37,0 4 58,0-2-141,1 0-35,-1 4-46,1 0-76,1 11-188,0-13 224,-1 0 42,0-2 38,1-1 41,-1 1 46,0-1 53,5 95 74,1 11-82,-1 56-41,-5-148-169,1 7 37,-1 8-33,0-10-98,-1-5-97,1-8 65,-1 0-41,-1-1-158,-2-3-109,0-6-116,-2-8-122,-1-5 15,1 0 106,0-2 101,0 1 95,1-2 92,0 1 85,0-1 82,0 0 74,1 0 72,0 0 65,0 0 60,0 0 56,0 0 51,1 1 44,0 0 41,0 0 35,-4-23 489,1 0-33,3 0-42,1-1-49,2 0-58,2 1-67,2 0-75,2 0-84,-4 29-301,0 1 0,1 0 0,0-1-1,2-3-135,-1 6 98,0 0 0,0-1 0,0 2 0,1-1 0,1-2-98,-1 4 59,-1 1 0,0-1 0,1 1-1,0 0 1,0 0 0,0 0 0,1 1 0,-1 0-1,1 0 1,0 0 0,-1 1 0,1-1-1,1 2 1,-1-1 0,4 0-59,24-2 166,1 2-39,34 7 31,-14 3-101,28 8-39,50 8 0,-96-20 28,53-1-18,-38-1 47,-27-1 6,1 1 41,-4 1 13,-2 2 53,1 5 86,5 10 178,-7 7-31,-8-5-200,-5-3-98,0 3-70,33 173 158,-1-2-14,-7-65-147,-25-106-46,13 50 41,-12-42 13,-1-1 1,0 18-59,-6-44 11,1-1 0,-1 1 1,0 0-1,0 0 0,0-1 1,0 1-1,-1 0 0,1-1 1,-1 1-1,1 0 0,-1-1 1,0 1-1,0-1 0,0 1 1,-1-1-1,1 0 0,0 1 1,-1-1-1,-1 1-11,2-1 8,-1-1 0,0 1-1,0-1 1,0 0 0,0 0 0,0 0 0,0 0 0,0 0 0,-2 0-8,-27 5 23,-38-5 19,-2-3 52,-71-10 207,4 0 73,115 11-453,0-1 97,0 1 65,-31-1 189,20 1-177,14 0-109,0 1-74,4 0-57,-1-1-74,1 1-87,-1 0-96,1 0-107,-1 0-117,9-1 265,0 1-33,0 0-35,0 0-35,1 1-281,-9-2-1133,9 0 886,1-3-49,4 3 616,2-2-83,0 3 507</inkml:trace>
  <inkml:trace contextRef="#ctx0" brushRef="#br0" timeOffset="2">548 4005 11904,'-7'1'750,"0"-1"-64,1 1-61,-1-1-56,1 1-51,-1-1-46,1 0-41,0-1-37,-5 0 238,1 0-76,-26-12 1072,19 4-847,-5-6-209,3-2-108,1-2-96,1-2-87,3-2-74,0-1-66,3-2-53,1 0-43,-3-20-38,7 19-34,1-1-1,-1-25 28,4 21 37,2 2 59,2 9-71,0-1 1,1 1 0,6-20-26,-3 19 11,1-1-1,2 1 1,7-14-11,-7 18-5,1 0 1,1 1-1,0 1 0,7-7 5,-9 12-13,1 0-1,1 1 1,0 0 0,0 0 0,1 2-1,2-2 14,22-8-31,1 9-56,-29 8 51,-1 1 0,1-1 0,0 2 0,0-1 0,-1 1 0,1 0 0,0 1 0,3 0 36,-3 1-49,1 0 0,-1 1 0,0 0 0,0 0 0,0 0 0,0 1-1,-1 0 1,0 1 0,0 0 0,3 3 49,20 27-180,-14-7 49,-2 1 39,-3 1 40,-2 2 38,-4 0 37,-2 1 37,-2 1 36,-3-1 35,-2 0 34,-2 0 34,-14 32 297,-8-5 124,-7-6 119,0-18-113,22-27-457,-2-1-34,-3-1-27,-2-4-84,0-5-99,0-6-117,14 4-27,0-1 1,1 0-1,-1 0 1,1 0 0,0 0-1,1-1 1,-1 0-1,1 0 1,-1 0 0,2 0-1,-1-1 1,-1-3 218,-13-27-1051,7 3 279,7 16 436,0 0 39,0 0 43,1 0 50,0 1 54,1 0 59,-4-37-283,-2-30-74</inkml:trace>
  <inkml:trace contextRef="#ctx0" brushRef="#br0" timeOffset="3">1940 117 5760,'5'-2'637,"-1"0"-104,0 1-51,0 0-44,-1-1-38,2-1 254,4-11 762,-8 11-971,1 1 39,5 2 1189,-3 2-1002,-3 0-308,1 0-39,0 1-46,-1-1-54,0 1-64,0-1-70,0 0-80,0 0-87,0 7 385,-1 1-44,0 0-39,-1 0-36,-1 2-3,0 0-36,-2 6 21,-1 0-41,-3 14 76,-5 26 32,-1 1-54,-9 40 38,-38 134 173,41-162-222,-1-1 60,9-29-175,9-28-63,2-7-41,2-8-55,2-8-72,4-9-88,8-31-406,0 0 96,0-2 113,-8 27 275,1-2 33,-1 1 36,0 0 36,0 0 39,-1-1 41,1 0 41,0 1 45,-1-1 45,1 1 48,5-29 214,0-2 80,18-80 794,-14 82-752,-3 21-212,4 3 68,-15 29-337,-1 0-1,1 0 1,-1 1-1,1-1 1,-1 1-1,1 0 1,0-1-1,0 1 0,0 0 1,-1 0-1,1 0 1,0 0-1,1 0-35,-1 1 36,0-1-1,0 1 1,0 0-1,0 0 1,0 0-1,0 0 0,0 0 1,0 0-1,0 1 1,0-1-1,0 0 1,0 1-1,0 0 1,0 0-1,0-1 1,0 2-36,31 15 291,-2 4-83,0 3-64,-2 2-47,47 52 84,-46-45-73,48 61 112,-7 8-71,-7 4-90,-38-55-108,0 7 49,-11-19-36,-3 1-34,-10-31 26,0 0-1,-1 0 0,0 1 0,-1 5 45,-4 16-181,-8-3-68,-10-4-79,-10-4-91,-7-6-148,-2-5 43,12-4 210,1-3 37,-9 0-8,0-1 81,1-2 96,-1 0 107,19 1 47,0-1 32,0 1 35,1 0 37,-66 0 757,-1 0 106,1 0 120,42 0-517,0 0 35,25-1-292,9-1-71,9-1-64,5-1-58,4 0-51,2 0-45,11-2-39,1 1 103,-1 0-85,1 0-82,1 0-82,-1 0-80,0 1-79,1-1-78,-1 1-76,0-1-47,-1 1-67,0 0-65,-1-1-65,1 1-63,-1-1-63,1 1-61,-2-1-60,-6 1 488,-1 1 44,0-1 39,0 1 36,4-2-32,-1 1 44,18-4-223,18-3-106</inkml:trace>
  <inkml:trace contextRef="#ctx0" brushRef="#br0" timeOffset="4">1823 2015 11136,'-4'-8'701,"0"1"-43,0-1-43,0 0-41,0 1-41,0-1-42,1 0-39,-1 0-40,0 0-39,1 0-38,0 0-38,0 0-38,1 0-36,-1 1-36,2 0-35,-1-1-36,-2-13 588,1 0-112,1 1-99,0 0-83,1-3-11,2 0-77,0-5-5,3-13 105,0 30-182,1 13 38,-1 10-60,-2-5-161,-1 1-50,4 35 120,-3 2-39,-1 0-43,-1 1-48,1 13-80,1 0-97,0-29 22,2 40-127,-2-49 160,0 0-46,0 3-89,1-1-96,-1 0-116,-1-12 186,0 1-38,-1-14-257,0-1 117,0 0 237,-1 0 36,1-5-88,-1-1 120,-1-2 102,1-2 92,-1-2 80,1 1 48,-4-21 280,2 14-234,2 10-142,-1 1-64,-6-37 562,3 7 841,0-31-1406,7 3 788,1 40-504,1 0-35,3 1-42,1 0-50,2 1-55,3 1-62,1 0-69,3 1-76,0 4 102,0 1 0,2 0-1,0 1 1,13-9 3,-4 6-47,24-13 47,-9 9-138,22-7 138,-9 7-115,0 3-36,-1 2 64,-45 17 81,0 1 0,1 0 0,0 0-1,6 1 7,-12 1 4,-1 0-1,1 0 1,-1 0-1,1 1 1,0 0-1,-1 0 1,1 0-1,-1 0 0,0 1 1,1 0-1,-1 0-3,-1 0 8,1 0-1,-1 0 0,0 0 0,0 1 0,0 0 0,0-1 1,-1 1-1,1 0 0,-1 1 0,0-1 0,1 0 1,-2 0-1,1 1 0,1 2-7,2 7 51,-1 0-1,0 1 1,-1-1 0,0 1 0,-1 0-1,0 13-50,0 26 309,-3 12-309,0-6 150,1 1 22,0 79 127,3-1-94,2-33 121,14 67-326,-16-158 82,2 21 74,-5-32-143,0 1 0,0-1 0,0 0 0,0 0 0,0 1 0,-1-1 0,0 0 0,0 2-13,1-4 3,-1-1 1,1 1 0,0-1-1,-1 1 1,1-1-1,0 1 1,-1-1 0,1 1-1,-1-1 1,1 0 0,-1 1-1,1-1 1,-1 1 0,1-1-1,-1 0 1,1 0 0,-1 1-1,0-1 1,1 0 0,-1 0-1,1 0 1,-1 1-1,0-1 1,1 0 0,-1 0-1,1 0 1,-1 0-4,-19-3 45,14 2-39,-39-6-191,-2 2 84,-9 1 64,-29-2 83,-13 0 26,32 0-96,54 4-147,0 0 96,-1 0 64,-19-6 53,13 1-98,7 3-52,2-1-78,-1 0-99,1-1-115,6 3 151,-1 0-37,1 0-38,0-1-40,0 1-44,0-1-44,1 0-49,0 1-49,0-2-99,1 1 43,0 0 40,1 0 40,0-1 37,0 1 37,1-1 35,0 1 34,1-5-290,0 1 117,1-1 105,0 1 94,-1 5 226,2-5-183,-1 0 38,4-16-419</inkml:trace>
  <inkml:trace contextRef="#ctx0" brushRef="#br0" timeOffset="5">1906 4038 12544,'-3'-2'832,"1"0"-74,-1 0-72,0 0-69,1 0-63,0 0-61,0 0-57,0-1-53,0 1-50,0 0-46,1-1-42,-1 0-38,-1-2 106,1-1-111,-1-3-50,-2-12 40,3 13-47,2 4-26,-1-1 36,0 0 44,0 1 50,1 2-121,-6-42 138,2-2-36,2-48 126,8-1-120,9 0-105,4 21-90,7 2-47,-15 48-19,1 0-1,1 1 1,3-4 25,-3 9-45,0 0 1,1 1 0,16-15 44,-2 8-72,2 4-75,3 5-76,1 5-73,0 8-74,0 8-72,-2 9-73,-3 11-71,-11-2 394,-4 0 54,-4 3 50,-2 0 48,-4 1 44,-3 1 41,-2 0 37,-3 1 35,-6 17 132,-4 0 67,-13 19 251,-4-7 74,15-32-313,-1 0 40,0-4 232,0-1 0,-10 10-600,-8 2 562,-3-5-91,11-13-233,-2-4-77,17-8-32,0-1-98,1-1-88,0-1-78,0-2-69,1 0-60,0-1-50,0-2-41,-5-4-306,12 5 456,-1 0 0,1 1 1,0-2-1,0 1 1,0 0-1,0-1 1,0 1-1,0-3 205,-4-7-461,0-2 48,1-5-54,1-1 75,2-2 64,1-1 53,1-16-81,4-21-72</inkml:trace>
  <inkml:trace contextRef="#ctx0" brushRef="#br0" timeOffset="6">4173 209 11264,'0'-1'815,"0"0"-80,-1 1-77,1 0-73,0 0-69,-1 0-65,1 0-62,0 1-56,-1-1-54,0 1-49,1 0-45,-1 0-41,1 0-38,-1 0-33,-1 1-11,0 1-108,-2 5-233,3-5 263,0-2 52,1 0 40,0-1 47,-1 1 53,-25 54-68,2 1-38,-42 111 26,19-47 4,30-77-2,4-11-48,5-11 18,1-4 30,0 0 53,1-3 26,0 0 54,-1-1 62,1 0 71,5-11-71,0-2-49,1 0-43,0-1-39,0-3 64,1-3-101,4-14 2,-3 13-27,25-74 116,50-112 118,-47 126-132,-14 32-51,1 0 40,0 1 46,-1 0 53,-5 12-123,15-31 186,-23 50-310,-1 1 0,0-1 0,1 0 0,0 1 0,0 0 0,0-1-1,0 1 1,1 0 0,-1 1 0,4-3-43,-6 5 12,0-1 0,0 1 0,-1-1 0,1 1 0,0 0 0,0-1 0,0 1 0,0 0 0,0 0-1,0 0 1,0 0 0,0 0 0,0 0 0,0 0 0,0 0 0,0 0 0,0 0 0,0 1 0,0-1-12,1 1 11,-1-1 1,1 1-1,-1 0 1,0 0 0,0 0-1,0 0 1,1 0-1,-1 0 1,0 0 0,0 0-1,1 2-11,2 3 28,-1 1-1,1 0 0,-1 0 0,2 8-27,-3-10 12,28 77 30,49 121 233,-56-154-235,1 0-37,4-1-49,2-2-60,19 22 349,38 40 276,-48-62-323,6 7-37,-22-28-124,-2 1-35,-11-10 61,-10-16-62,0 0 1,0 1-1,0-1 0,0 0 0,0 1 0,0-1 0,0 0 0,0 0 1,0 1-1,0-1 0,0 0 0,0 0 0,0 1 0,0-1 0,0 0 0,0 0 1,-1 1-1,1-1 0,0 0 0,0 0 0,0 1 0,0-1 0,-1 0 1,1 0-1,0 0 0,0 1 0,0-1 0,-1 0 0,1 0 0,0 0 1,0 0-1,-1 0 0,1 0 1,-4 1-24,0 0 1,0-1-1,0 0 0,0 0 1,0 0-1,0 0 0,-2-1 24,6 1 0,-125-15-526,71 7 328,0 2 68,-31-3 105,0 1 41,-129-14 86,123 13-83,45 4-47,30 3-21,1 1-38,4-1-22,0 1-39,3 0-45,2 0-51,12 2-639,0 0 75,0 1 70,0 0 67,0 0 65,0 0 60,0 0 56,-1 1 54,1 0 50,-1-1 47,1 1 42,-1 0 41,5 3-153,-1 1 117,6 4-167,5 6-90</inkml:trace>
  <inkml:trace contextRef="#ctx0" brushRef="#br0" timeOffset="7">3450 2774 13696,'-1'4'908,"-1"0"-62,0 0-63,1 0-63,-1 0-63,1 0-64,0-1-63,0 1-65,1-1-63,-1 1-65,1-1-64,0 1-65,0-1-66,0 1-64,0-1-66,1 1-65,0 5 207,0 3 6,1-2-76,0-1-50,4 10-15,0-7 51,-2-5 27,2 1 58,1-5 403,-3-9-82,-1-4-114,-2 5-232,0 0-40,1-19 243,-1 0-71,-1 0-65,0-1-55,-1-5-33,0 0-54,-1-7-39,-2-17-46,0 8 10,3 16 39,-5-55-41,-1 0 77,-1-6 61,0-44 116,8 0-3,6 46-119,-4 78-102,-1 0 0,1 0 0,1 1 0,0-1 0,0 1 0,1-1 0,1 1 0,-1 0 0,4-4-9,-3 8 0,-1-1 0,1 1 0,0 1 0,1-1 0,5-4 1,-4 4-18,1 0 1,0 1-1,1 0 1,-1 0-1,2 0 18,69-27-88,1 3 0,44-8 88,-40 13-12,-3-2 56,-39 14-58,-32 10 0,0 1 0,0 0 0,0 1 0,0 0 0,5 0 14,-8 1-9,-1 0 0,1 0 1,-1 1-1,1 0 0,-1 0 0,0 0 0,1 1 1,2 1 8,-4-1-3,0 1 0,0-1 1,0 1-1,0 0 0,-1 0 1,2 2 2,2 4 6,0 1 0,0 0 0,-1 0 0,-1 1 0,1 0 0,-2 0 0,0 0 0,3 13-6,5 23 50,6 40-50,-9-37-2,52 232 29,-18-93 34,-12-50 31,0 0 53,-9-54-167,-4-22 11,-9-21 34,-4-8 27,-4-1 38,-2-33-88,0 1-1,0-1 1,0 0-1,0 0 1,0 0 0,-1 0-1,1 0 1,0 0-1,-1 1 1,1-1 0,-1 0-1,1 0 1,-1 0 0,0 0-1,1 0 1,-1-1-1,0 1 1,0 0 0,1 0-1,-1 0 1,0-1 0,0 1-1,0 0 1,0-1-1,0 1 1,0-1 0,0 1-1,0-1 1,0 1-1,0-1 1,-1 0 0,1 1-1,0-1 1,0 0 0,-1 0 0,-4 1-5,-1-1 0,1 0 0,-1-1 0,1 1 0,-1-1 0,-1-1 5,-38-8 25,-33-12-25,-47-20 64,5 1 23,-139-29 359,147 44-324,47 10-112,-1 0-65,62 15-81,0 0 39,-6-2 0,-2 0 97,-16-5 111,19 5-144,0 0-75,1 1-100,2-1-61,0 0-100,-1 1-117,5 0 196,-1 1-36,1 0-35,0-1-38,-1 1-40,1-1-42,0 1-43,0-1-45,0 1-47,0-1-50,-1 0-960,2 1 77,1 1 578,1-1 65,0 2-119,1-1 564,-1 0 38,1 1 42,0-1 45,0 1 46,0 0 51,1 1-160,0-1 46,0 2-25,2 0-140</inkml:trace>
  <inkml:trace contextRef="#ctx0" brushRef="#br0" timeOffset="8">3506 4497 14208,'-7'5'851,"-4"5"678,4-5-566,0-2-215,0 0-62,1-2-172,-2-2-61,1 0-66,-2-1-76,-21-9 606,10 2-360,3 1-146,0-2-62,3 1-115,1-1-60,1-1-68,1-1-75,-2-5 53,1 0 0,-7-14-84,6 7 32,1-1-1,1 0 1,-3-13-32,5 8 34,1-1 0,-4-28-34,5-20 122,7 52-99,1 1 0,3-21-23,0 27-2,0 0-1,0 0 1,2 0-1,1 0 3,-2 7-15,0 2 1,1-1-1,0 0 0,1 1 0,0 0 1,7-7 14,-8 11-19,0 1 0,0-1 0,1 1 1,0 1-1,0-1 0,1 1 0,-1 0 0,1 1 1,0 0-1,1 0 19,-2 1-26,-1 1 0,1 0-1,-1 1 1,1-1 0,0 1 0,-1 1-1,1-1 1,0 1 26,3 0-51,-1 1-1,1 0 1,-1 1 0,0 0-1,1 0 1,-1 1 0,0 0-1,6 4 52,1 1-105,0 1 1,-1 1-1,0 0 0,0 1 0,-1 1 0,0 0 0,5 7 105,2 6-167,-3 2 71,-3 1 68,-3 2 60,-3 1 56,-4 1 49,-2 1 43,-4-1 38,-4 6 85,-5-1 36,7-26-222,-1-1 1,-1 0-1,0 0 1,0 0-1,-1-1 1,0 1-1,-1-2 1,0 1-1,0-1 1,-1 0-1,0 0 1,0-1-1,-1 0 1,0 0-1,-5 1-117,-1 1 103,-1-1-1,0-1 1,-1-1 0,1 0-1,-1-1 1,0-1 0,-1-1-1,-1 0-102,-16 1 140,-1-3-37,6-1-52,1-3-37,-1 0-45,1-2-50,1-1-55,0-2-63,2-1-68,0-1-73,18 6 154,0 1-56,0-1-49,1 0-45,-2-1-115,0-1-44,-1-1-140,-3-4-366,1-2 0,6 3 363,1 2 142,2-1 41,0 1 117,2-1 43,-1 1 49,2-2 56,2-12-264,3-13-9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12"/>
    </inkml:context>
    <inkml:brush xml:id="br0">
      <inkml:brushProperty name="width" value="0.05" units="cm"/>
      <inkml:brushProperty name="height" value="0.05" units="cm"/>
    </inkml:brush>
  </inkml:definitions>
  <inkml:trace contextRef="#ctx0" brushRef="#br0">618 1522 9856,'-2'-7'595,"1"0"-35,-2-7 510,2 12-890,1-1 0,-1 1 0,0-1 0,0 1 0,0 0 0,0-1 0,-1 1 0,1 0 0,-1 0 0,1 0 0,-1 0 0,0 0 0,0 0-180,-2-2 158,1 1 35,-5-2 278,1 0 69,-13-3 812,14 7-967,-1 0-38,-1 3-1,-1 0-96,-10 6 240,0 1-80,1 2-71,1 0-64,0 2-56,1 0-48,1 2-42,0 0-32,-9 12 11,-27 41 69,37-46-92,1-1 39,-15 27 53,-8 22-177,9-10 109,3 2-109,-13 48 162,-7 45-162,16-33 12,5 3 62,5 1 57,7 0 49,4 2 44,7 0 37,5-1 346,5 2-607,5-9 476,6 0-1,4-2 1,6 0 0,42 102-476,-15-79 369,9-3-39,26 26 46,8-7-41,-9-30 247,42 40-582,3-14 532,7-6 0,101 76-532,-67-71 311,1-1-90,0-2-69,1-3-47,-80-68-28,54 36-29,-95-76-13,45 21-35,-60-37 54,26 8-54,-60-27 11,1 1-1,-1-1 1,10 1-11,-4-3-36,1 0-51,-14-1 108,0-1-70,-1 1-66,-1-1-62,0-1-57,0 1-53,-1-1-50,0 0-45,-1-1-312,-1-1-88,1 2 148,-1-1-33,-1-3-736,-3-4-1774,5 6 2345,0 1 55,0 0 53,0-1 51,0 1 49,0-1 45,0 1 45,0-1 41,0-2-172,0 1 80,-1-1 74,1 0 66,1 1 58,-1-1 52,0 0 42,0 1 36,0-5-156,1 0 49,0-3-25,0-6-141</inkml:trace>
  <inkml:trace contextRef="#ctx0" brushRef="#br0" timeOffset="1">3820 348 9088,'-8'-5'610,"0"0"-66,0-1-55,-1 1-48,0-1 8,1 0-36,-21-16 843,17 12-685,-3-1 202,9 5-380,0 1 35,-1 0 42,1-1 47,3 4-168,-2-2 75,-2 0 159,-4-2 385,3 1 381,10 5-740,5 4-86,24 11-232,0-1-44,33 11 159,-6-3 261,6 6-667,-24-8 437,22 17-437,-17-6 374,5 5-374,40 40 320,-1 6-43,-32-24 148,24 34-425,-25-21 343,9 20-343,42 82 272,-14 9-59,33 122 34,23 164-3,16 204 78,-118-446-162,-6-2 51,-40-222-208,31 179 227,-3 0-51,-9-29 129,-4 53-308,-15-197-2,1 37 123,-4 41-121,-2-55-26,-2 0-70,-4-2-92,-3-1-117,10-22 147,-1-1-65,0 0-57,0-1-50,-1 1-119,-1-2-48,-10 1-1141,6-5 658,3-2 376,2-1 149,0 0 60,1-1 121,-1 0 57,1-1 65,0 0 74,-7-18-347,-5-19-84</inkml:trace>
  <inkml:trace contextRef="#ctx0" brushRef="#br0" timeOffset="2">3695 105 11008,'0'-2'1018,"0"0"-84,0 0-80,0 1-77,0 0 24,0 0-91,0 1-83,0 0-79,0 0-72,0 0-68,0 0-61,-1 1-56,1 0-23,0 1-56,-1-1-47,1 1-39,-1 1 28,-4 7 73,-2 4 27,0-1-49,-1 0-41,0 0-37,-9 15 51,-6 17-39,-3 21-8,4 1-35,1 9 12,4 0-1,3 1 0,2 20-107,11-90 15,0 3 22,0 0-1,0 0 1,1-1-1,0 1 1,1 1-37,-5-33-62,0-1-38,-5-49-288,5 31 219,1 21 120,0 0 33,-3-21 9,1-1 53,-1 0 50,1 0 43,-1-9 78,0 1 48,-1-26 200,1 2 58,4 59-403,-1-48 390,7 33-225,7 5 37,-3 15-150,3 5-33,14 2 63,-15 4-136,-1 1-1,1 0 1,-1 1 0,4 1-66,-8-2 29,55 17 211,0-1-42,60 19 92,25 3-71,73 12 8,-187-45-235,20 3 22,-18-2-52,-5-1-64,0 2-95,-9-2-345,-11-3 279,-4-2 83,0 1-37,0 0-43,-1 0-53,1 1-165,-1 1-111,-2-3 248,0 0-34,0 1-36,0 0-38,0-1-41,-1 1-41,0 0-45,0 1-45,-1-1-49,0 0-51,0 1-51,0-1-55,-2 4-492,-7 11-1820,5-11 2056,-1 0-21,0 1 79,2-2 396,-1 0 41,-5 6-482,-3 2-73,-6 9-413</inkml:trace>
  <inkml:trace contextRef="#ctx0" brushRef="#br0" timeOffset="3">3114 5726 6400,'-15'14'995,"7"-6"-537,0 0-37,-3 3 88,0 0-109,5-6-248,0 0-35,1 0-39,-1-1-40,-12 8 122</inkml:trace>
  <inkml:trace contextRef="#ctx0" brushRef="#br0" timeOffset="4">2600 5765 6272,'-18'-15'970,"3"-2"63,0-1 90,3-2 111,4 6-336,1 0 68,0-1 75,0 0 83,-11-26 1106,11 23-1297,-3-5 190,0 0-100,5 12-561,0 0-38,0 0-45,0 0-47,3 7 102,1 1-76,0 3-69,1 1-62,1 1-53,0 1-46,2 6 17,0 0-100,5 14-3,-5-17 5,-1-1 38,33 64 126,61 88 87,-68-113-183,57 84 290,-53-79-205,1 0 48,-2 0 61,-2 1 75,-23-40-288,-1 0 44,1 12 248,-7-6-3,1-15-349,0 0 0,-1 0 0,0 0-1,1 1 1,-1-1 0,0 0 0,1 0 0,-1 0-1,0 0 1,0 0 0,0 0 0,0 0 0,0-1-1,0 1 1,0 0 0,0-1 0,0 1 0,-2 0-36,-11 4 292,-2-2-54,-1-2-49,0-2-39,-11-3 25,-12-6 0,27 7-120,-46-13 126,1-4-49,19 4-85,1 0-43,-9-6-72,0-1-99,1 0-113,23 11 91,0 0-34,-11-6-190,25 14 515,1-1-125,-1 1-117,1-1-106,-1 0-99,1 1-89,0-1-80,-1 0-70,2 0 5,-1 0-43,-6-4-726,5 2 414,-27-21-2902,27 20 2863,1 0 58,3 3 576,0 0 41,0-1-22,-3-4-115</inkml:trace>
  <inkml:trace contextRef="#ctx0" brushRef="#br0" timeOffset="5">1920 3408 13952,'-6'0'857,"0"0"-78,0-1-71,0 1-68,-1 0-60,1 0-55,0 0-49,0 0-44,-6 1 254,1-1-89,-26 4 1138,29-2-1330,0-1 38,1 0-59,-2 2 139,-3 1 362</inkml:trace>
  <inkml:trace contextRef="#ctx0" brushRef="#br0" timeOffset="6">1767 3434 25343,'14'2'169,"15"2"112,-1-1-99,12 2-40,25-1-18,-36-3-46,104 0 4,65 2-60,-2 0-29,-64-2 38,-23-2 42,1-1 62,5-1-36,-1 1 98,-12 1 38,138 1 379,-84 1-282,-149-2-330,0 1-1,0-1 0,0 0 1,0 0-1,-1-1 0,1 0 1,0 0-1,-1-1 0,0 0 1,1 0-1,-1 0 0,0-1 1,0 0-2,6-5 2,-1 0 0,0-1-1,-1-1 1,0 1 0,6-10-2,-5 6 5,-1-2-1,-1 1 1,0-1 0,-1-1-1,-1 1 1,0-1 0,-2-1-1,1-1-4,1-11 18,0-1-1,-2 1 0,-2-2 1,0-8-18,-2-20 189,-4-22-189,-4 11 130,-2-1-130,-18-70 72,-11 6-53,20 80 31,-3 1 0,-16-29-50,19 49 11,-2 0 0,-15-19-11,20 33-14,-1 1 0,-1 1 0,-1 0 0,0 1 0,-18-12 14,21 18-29,-1 2-1,0 0 0,-10-4 30,10 7-33,0 0 0,0 1-1,-1 1 1,-1 0 33,4 2-23,1 1 1,-1 0 0,0 1-1,1 1 1,-1 0 0,0 0-1,1 2 1,-1-1 0,0 2-1,1 0 1,0 1 0,0 0-1,-1 1 23,-4 3-31,0 0 0,1 2 0,0 0 0,1 0 0,0 2 0,1 0 0,1 1 0,-13 13 31,4-2-51,1 2 1,2 1-1,-5 8 51,-10 27-21,28-46 38,1 0 0,0 0-1,1 2-16,3-15 12,1 1-1,0-1 1,1 0-1,-1 1 1,1-1-1,-1 1 0,1-1 1,0 1-1,0-1 1,0 1-1,1-1 1,0 1-1,-1-1 0,2 2-11,-2-4 3,0-1-1,0 0 0,0 0 0,0 0 0,0 1 0,0-1 0,0 0 0,0 0 0,0 0 1,0 1-1,0-1 0,1 0 0,-1 0 0,0 0 0,0 0 0,0 1 0,0-1 0,0 0 0,0 0 1,1 0-1,-1 0 0,0 0 0,0 1 0,0-1 0,1 0 0,-1 0 0,0 0 0,0 0 0,0 0 1,1 0-1,-1 0 0,0 0 0,0 0 0,0 0 0,1 0 0,-1 0 0,0 0 0,0 0 1,0 0-1,1 0 0,-1 0 0,0 0 0,0 0 0,0 0 0,1 0 0,-1 0 0,0-1 0,0 1 1,0 0-1,1 0 0,-1 0 0,0 0 0,0 0 0,0 0 0,0-1 0,0 1 0,1 0-2,5-13 83,2-26 74,-7-3-106,-3 15-88,-6-28 37,1 24-104,-1 0 1,-1 1-1,-2-2 104,-3-2-125,0 2 0,-15-22 125,11 24-97,-2 0-1,-17-19 98,18 26-48,-2 1-1,0 1 1,-7-4 48,14 14-13,0 0 1,0 1 0,-1 0 0,-1 1 0,1 1 0,-2 1 0,1 0 0,-1 1 0,0 1 0,0 0 0,0 1 0,-1 1 0,1 1 0,-1 0-1,0 2 1,0 0 0,1 0 0,-1 2 0,-15 3 12,5 1-31,1 0-1,-1 3 1,1 0-1,1 1 1,0 2-1,-2 2 32,-6 5-38,1 1-1,1 2 1,1 1 0,-6 8 38,-6 7-53,3 3 1,-21 26 52,7 0-43,-13 26 43,32-41-8,3 1 1,-18 44 7,12-8 17,16-22 37,3 3 50,16-57-61,-3 8 27,3-14 6,-1 2 54,3-8-26,-1-4-21,-11-24-104,-2 0-1,-2-1 22,-4-4-41,-1 2 0,-2 1 1,-1 1-1,-1 1 0,-6-4 41,-22-13-34,-2 7 38,45 31 0,0 0 1,-1 0 0,1 1-1,-1 1 1,0 0-1,0 1 1,-10-2-5,15 4-3,0 0 0,-1 1 0,1 0 0,-1 0 1,1 1-1,0 0 0,-1 0 0,1 1 0,0 0 0,0 0 0,0 1 0,0-1 1,-4 4 2,-1 1 0,0 0 1,1 0 0,0 1 0,1 1-1,-6 5 0,1 2-10,0 0 0,2 1 0,0 0 0,1 1 0,-4 9 10,-3 8-29,2 1-1,-6 21 30,-6 26-12,14-35 38,2 1-1,2 0 1,3 1-1,1 0 1,2 22-26,5-44-6,1-1 0,1 1 0,1-1 0,7 24 6,-5-31-35,2 0-1,6 16 36,-5-19-41,0-1 0,1 0 0,5 6 41,15 13-97,-7-18-65,-3-6-69,1-4-115,-1-3-48,0-2-111,-10-2 206,2 0-33,-1-1-35,0 0-36,3-1-341,-1-1-38,27-5-1874,-22 4 1552,-7 1 480,-1 0 33,-1 1 130,0 0 34,0-1 37,0 1 43,1-1 47,-1 1 50,0-1 57,0 1 59,16-6-384,13-4-94</inkml:trace>
  <inkml:trace contextRef="#ctx0" brushRef="#br0" timeOffset="7">1592 2878 13184,'0'-3'535,"0"-9"1290,1 3-648,0 1-247,0 0-64,0 1-207,1 1-68,1 1-79,0 1-88,0 4-132,0 2-90,0 3-73,0 1-54,6 19 54,-2-2-61,-2 0 0,0 6-68,1 24 54,-2-7-51,-1-1-52,0 5-81,1-2-97,-3-41 165,1 7-97,-1 1-34,2 13-283,0-4 2,0 0-49,9 53-1314,-5-44 1097,1-1 85,-3-16 382,0 0 44,4 9-141,4 8-76</inkml:trace>
  <inkml:trace contextRef="#ctx0" brushRef="#br0" timeOffset="8">1520 2839 11520,'-6'-2'885,"-1"0"-75,1 0-71,0-1-67,0 1-61,0-1-58,1-1-54,0 1-47,-1-4 180,0-1-95,3 1-184,1-1-36,0-11 244,2 14-577,1-1 0,-1 1 1,1 0-1,1-1 1,-1 1-1,1 0 0,-1 0 1,2 0-1,-1 0 0,1-1 16,2-2-33,0 0-1,0 0 0,1 1 1,0 0-1,0 0 0,1 0 34,2-2-62,1 1 0,0 1 0,0-1 0,5-1 62,-7 4-59,1 0 0,0 1 0,0 0 0,1 1 0,1 0 59,4 0-137,0 1 62,9 4 51,-4 5 73,-18-6-40,0 0-1,-1 0 0,1 0 0,0 0 0,-1 0 0,0 0 0,1 0 0,-1 1 0,0-1 1,1 0-1,-1 1 0,0-1 0,0 1 0,0 0 0,0-1 0,0 1 0,-1 0 0,1-1 1,0 1-1,-1 1-8,1-1 2,-1 1 1,0 0 0,0-1 0,0 1-1,0 0 1,0-1 0,-1 1 0,1-1-1,-1 1 1,0 0 0,0 1-3,-3 7-134,-2-1 49,1 1 43,-2 0 36,-10 14 88,-17 11 167,18-23-166,-3 1-55,1-4-101,9-6-9,0 0-34,6-4-205,1 1-44,-2-2-470,2 0 0,0-5-1203,3 4 1348,-1-1 56,1 0 77,1 0 99,-1 1 219,0 1 60,0-1 67,0 1 74,6-5-407,6-3-68,-13 9 511</inkml:trace>
  <inkml:trace contextRef="#ctx0" brushRef="#br0" timeOffset="9">2867 1750 12544,'-3'-3'829,"-1"0"-44,1 1-47,0 0-47,0 1-48,1 0-50,-1 1-50,1 0-52,-1 1-52,1 0-54,0 1-55,0 0-56,0 2-57,0 0-57,1 0-60,-1 1-60,-5 19 193,1 0-34,-5 25 107,3 1-109,1 1-92,3-11-76,1 1-42,0 8-42,0 24-83,-3 38-101,6-109 237,-2 22-67,1 0-52,-1 1-78,1 0-99,0-9 33,1 1-62,0-1-69,0 1-75,0-7 136,0 0-34,1 1-36,-1-1-37,1 0-38,0 0-42,-1 0-41,2 1-44,-1-1-45,0 0-48,1 0-49,-1 0-50,1 0-52,0 0-54,0 0-56,1-1-57,-2-2 733,1-1 35,5 12-383</inkml:trace>
  <inkml:trace contextRef="#ctx0" brushRef="#br0" timeOffset="10">2670 2865 10368,'-2'-9'1077,"0"0"-104,0 1-101,-1-1-95,1 1-122,0 0-75,0 0-72,0 0-66,0 0-61,1-1-58,0 1-53,0 0-47,2-5 46,0 0-92,4-3-58,7-9-64,5 1-2,-10 17-11,1-1 0,-1 1 0,1 1 0,1-1-1,8-4-41,24-10 54,-17 14-89,1 1-68,-1 4-81,0 4-98,2 4 44,-6 6 62,-7 4 65,-5 3 65,-6 2 66,-7 1 68,-5-1 69,-7-1 69,5-9-120,0-2 74,4-4 16,0 0-1,-1-1 1,1 0-1,-3 0-195,-9 3 265,10-4-182,-1 0-47,1-1-56,-1 1-68,3-1-30,0 0-51,0 0-53,0 1-59,0-1-63,0 1-67,0-1-72,0 1-76,1 0 118,-4-1-88</inkml:trace>
  <inkml:trace contextRef="#ctx0" brushRef="#br0" timeOffset="11">3756 3040 10368,'-3'2'726,"0"1"-46,-1-1-45,1 0-44,0 0-41,-1 0-41,0 0-38,1-1-38,-1 1-35,0-1-35,-4 2 267,0 0-117,0 0-107,1-2-149,0 1-54,0 0-47,0-1-41,-1 1-23,-1-1-38,-15 3-21,9-1-14,6-2 31,2 0 30,0 1 46,-58 6 396,31-7-310,1 0-42,-16 0-10,25 0-128,1 2-35,-68 3 39,67-5-68,0 1-61,1 0-83,0 0-108,20-1 346,0-1-64,1 0-65,-1 0-62,0 1-64,0-1-61,0 0-61,1 0-60,0-1-61,1 1-58,0 0-58,1-1-57,1 0-58,0 0-55,2 0-55,0 0-55,6-1-1368,-5 1 1298,0 0 94,0 0 188,-1 0 73,2-1-39,2 1-215</inkml:trace>
  <inkml:trace contextRef="#ctx0" brushRef="#br0" timeOffset="12">3136 3233 6784,'-5'7'928,"1"-2"-356,2-2-148,0-1-66,0-1 70,1 0-56,0-1-52,-1 0-45,0 0-41,1-1-35,-3-1 114,1 0-88,-4-4 225,6 5-248,0 0 87,-6-6 438,0 0-103,0-1-96,1 0-86,0-1-79,1 0-70,0-1-62,0 0-53,-1-2-22,1 0-51,-13-42 152,15 39-176,0-3-49,4-21-81,-1 38 42,0-1 0,1 1 1,-1-1-1,0 1 0,0 0 1,1-1-1,-1 1 0,1 0 0,-1-1 1,1 1-1,-1 0 0,1-1 1,0 1-1,0 0 0,0 0 1,-1 0-1,1 0 0,0 0 1,1 0-1,-1 0 0,0 0 0,0 0 1,0 0-1,0 1 0,1-1 1,-1 0-1,0 1 0,1-1 1,-1 1-1,0 0 0,1-1 1,-1 1-1,1 0 0,-1 0 0,0 0 1,1 0-1,-1 0 0,1 0 1,-1 0-1,1 0 0,-1 1 1,0-1-1,1 0 0,-1 1 1,0-1-1,1 1 0,-1 0 7,6 2-17,0 0 0,-1 0 0,0 1 0,1 0 0,-2 0 0,1 0 0,0 1 0,-1 0 0,2 2 17,9 13-23,-3 2 38,-4 7 76,-8 1 108,-4-16-51,-3 0 36,-3 0 41,-3-1 44,-8 2 126,-2-3-76,-3-2-88,0-4-98,0-3-110,-1-3-120,14-2 0,0 0-34,0-2-36,1-1-37,-1-2 72,4-1 40,8 6 78,-1 0 0,0 0 1,1 0-1,-1 1 0,1-1 0,0 0 0,0 0 0,0 0 0,0 0 0,0-2 1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25"/>
    </inkml:context>
    <inkml:brush xml:id="br0">
      <inkml:brushProperty name="width" value="0.05" units="cm"/>
      <inkml:brushProperty name="height" value="0.05" units="cm"/>
    </inkml:brush>
  </inkml:definitions>
  <inkml:trace contextRef="#ctx0" brushRef="#br0">2728 3145 3456,'-5'2'84,"-1"1"91,-1 0 81,1 0 69,-3 1 159,1 0 67,-20 10 1437,18-6-1187,6-4-435,0 0-40,0 1-48,1-1-56,0 3-146,0-3-68,2 0-68,0 0-71,2-1-73,0 1-75,1 1-76,0 0-78,0-1 136,0 2-140,1-1 93,-1 1 89,0 1 84,0-1 80,0 1 75,-1 0 72,1 1 66,-1-1 62,0 1 57,0-1 54,0 1 49,-1-1 45,0 1 39,-1 7 531,0-4-113,-2 0 49,2-8-544,0 0 0,0 0 0,-1 0 0,1 0 0,-1 0 0,1 0-1,-1-1 1,-2 3-351,-7 5 1359,4-6-718,-1-1-36,-3 0 134,-3-3-95,3 0-117,0-3-62,1 0-58,0-2-52,0 0-47,0-2-40,-9-9 166,-1-5-39,-8-16 144,17 22-280,-16-30 190,4-2-54,4-1-51,4-2-48,4 0-45,5-1-40,3-1-37,4 0-34,7-30 23,10 1-63,-8 47-44,12-27-56,-8 29 3,1 1-1,2 0 1,6-7-3,-1 5-142,25-27 142,-28 38-23,2 0-1,0 2 0,1 0 0,2 1 0,1 1 24,-10 8-15,0 0-1,1 2 0,0 0 1,0 0-1,1 2 0,0 0 1,2 1 15,-6 1-22,0 2 0,1 0 0,0 1 0,3 0 22,-4 1-31,0 0 0,0 2 0,0-1 0,9 3 31,-10-1-35,0 1-1,0 0 1,0 1-1,-1 0 1,1 0-1,-1 1 1,-1 1-1,1 0 1,-1 1-1,0-1 1,-1 2-1,8 7 36,-6-2-46,1 0 1,-2 1-1,0 0 1,-1 0-1,0 1 0,-1 1 1,-1-1-1,2 11 46,0-1-72,-2 1 0,1 7 72,3 56-110,-9-1 39,-8-7 46,-1-38 11,-2-1 0,-4 12 14,-3-5 44,-17 39-44,-8-1 93,-5-6 65,34-65-86,0 0 0,-1 0 0,-8 6-72,9-10 67,0-2-1,-1 0 1,0-1 0,-1 0 0,0 0 0,-14 5-67,15-8 63,-1-1-1,0-1 0,-5 1-62,4-2 49,0-1 0,0 0 0,-6-1-49,-24-1 64,-3-5-34,-14-11-115,39 7 64,1 0 0,-1-2 1,-9-6 20,-9-8-53,1-4-48,3-3-69,-2-7-129,22 18 98,0-1-40,2 0-44,0-1-47,3 0-51,0-1-56,9 14 144,-1 1-53,1-1-51,0 1-45,1-1-41,-1 1-38,-1-9-618,1-4-358,2 3 169,1-25-1827,2 30 2224,-1 0 37,1 3 357,-1 1 35,3-9-418,1-4-68,3-11-364</inkml:trace>
  <inkml:trace contextRef="#ctx0" brushRef="#br0" timeOffset="1">6375 3510 12160,'-7'5'631,"0"1"-37,-1 2 122,-1-1-38,7-5-502,-1-1-1,1 1 1,-1-1-1,1 0 1,-1 0 0,1 0-1,-1 0 1,0 0-1,1 0 1,-1-1-1,0 1 1,-1-1-176,-17-1 927,19 0-888,-7-1 209,-1 0 85,1 1-3,0-2 33,-21-7 906,18 4-761,-1-1-61,2-2-107,-21-20 192,6-4-115,5-2-103,5-1-92,4-3-80,4-1-68,4-1-57,3-1-46,3-5-43,2 8-74,2 1 1,6-18 145,2 2-101,1 7 57,0 3 63,8-14-112,1 2 0,3 1-1,34-51 94,-35 67-59,2 1-1,10-9 60,-12 19-16,0 0-1,2 3 1,2-1 16,-16 15 4,0 0 1,1 1-1,1 0 1,0 1-1,0 1 1,0 1-1,12-4-4,-22 9 6,1 0-1,-1 1 0,1-1 0,0 1 0,0 1 0,-1-1 0,1 1 0,0 0 0,0 1 0,0-1 1,-1 1-1,1 1 0,0-1 0,-1 1 0,1 1 0,-1-1 0,0 1 0,0 0 0,0 0 1,0 1-1,2 1-5,-1 1 5,0 0 1,-1 0 0,0 1 0,0 0-1,-1 0 1,0 0 0,0 1 0,-1-1-1,1 1 1,-2 0 0,3 8-6,1 3 19,-1 1 0,-1 0-1,-2 0 1,2 13-19,-2-4 30,-2 0 0,-1 0-1,-1 1 1,-2 1-30,-2 7 95,-1 0 0,-12 35-95,4-27 141,-2-1 1,-6 7-142,0-3 400,-23 33-400,32-62 73,0 0-1,-1-1 0,-1-1 0,0 0 1,-11 9-73,1-7 41,0-1-36,3-5-37,-1-2-39,-2-2-47,0-2-51,-1-1-59,-1-2-64,-1-3-72,-1-1-76,14-1 66,1-1-34,-16-2-497,-5-3-297,-17-6-719,0-3 29,17 4 742,7 1 308,13 5 471,1 0 40,-1 0 29,0 0 52,-1 0 59,1 0 63,-11-4-201,-1 0 39,-6-1-21,-17-6-113</inkml:trace>
  <inkml:trace contextRef="#ctx0" brushRef="#br0" timeOffset="2">3445 2999 13056,'-8'0'1232,"3"0"-72,2 1-76,2-1-77,2 1-81,2-1-85,0 1-86,2 0-90,1 0-92,0-1-96,0 1-98,1 0-102,-1-1-104,0 1-108,-1-1-109,-1 0-113,24 2 543,0-1-71,0 0-63,0-1-53,7 1-20,-1-2-49,70-1 107,-32 0-47,39-1 69,-1-1-49,1-2-44,0-1-40,112-10 29,0-2-94,434-30-32,-517 43 19,0 3 39,-80 3-79,82 4 108,-99 0-115,-1 0-42,-12 0-23,0 1-35,-1 1-41,0 0-46,-24-5-52,-1 1 67,0-1 57,0 0 46,1 1 31,9 4 56,-8-3-49,-1-1-63,0 0-93,-2 0 27,0-1-44,-1 0-50,1 0-55,0 1-60,0-1-66,0 0-71,-1 0-76,1 0-82,0 0-87,0 0-91,0 0-98,-1 0-102,1 0-108,0 0-113,0 0-119,-2-1 855,0 0 43,0 0 43,0 0 38,-1 0 36,1 0 33,0-1-247,1 0 186,-1-1 49,0 0-20,1-1-131</inkml:trace>
  <inkml:trace contextRef="#ctx0" brushRef="#br0" timeOffset="3">6686 2644 13568,'5'1'1110,"0"1"-119,0 0-113,0-1-104,-1 1-148,0-1-78,1 1-74,-1-1-69,0 0-62,-1 0-58,1 1-53,0-1-46,0 0-45,0 0-35,3 1 21,1 0-80,10 2-25,-12-3 16,0 0 39,1 0 56,0 0 69,0 0 84,1 0 98,48 4-11,1-2-64,-1-1-57,0-2-53,-1 0-45,1-2-41,54-6 18,-4-2-90,141-26-28,-159 20 40,-68 12-121,0 1 44,38-7 84,-21 4-27,-12 2-67,-4 0-50,-1 0-67,-3 1-37,0 0-66,-1-1-75,1 1-83,-17 3-320,-1-1 58,1 1 53,-1 0 49,0-1 45,-1 0 42,1 1 36,-1-1 33,-1-1-262,0 1 69,-6-3-1181,7 2 970,-2 1 80,0-2 118,-1 1 101,1-1 84,0 0 137,0 1 35,-8-7-407</inkml:trace>
  <inkml:trace contextRef="#ctx0" brushRef="#br0" timeOffset="4">7933 2691 7936,'1'3'501,"0"0"-57,1 7 834,-1-5-701,-1-2-195,0 0 43,1 0 88,-1 0 73,0 0 86,0 0 99,0-3-40</inkml:trace>
  <inkml:trace contextRef="#ctx0" brushRef="#br0" timeOffset="5">7945 2712 16288,'2'-15'628,"1"1"-112,-2-1-101,0 0-86,-1-3-31,0 0-84,0-4-34,-2-11 13,1 10-44,-2-26 29,-4-1-55,-4-9-29,-11-30-9,-6 2 3,6 31 13,3 11 30,-2 0 56,-14-22 129,-4 3-67,-6 3-62,-3 3-54,-16-5-37,-5 6-58,37 34-52,0 2 1,-18-8 13,17 13-48,-1 0 0,-24-6 48,10 7-39,0 2 0,-45-6 39,39 11 1,-21 2-1,-33 4 64,0 9 82,85-5-132,-33 4 67,0 0 81,0 1 96,0 1 111,28-4-138,0 1 33,1 0 36,-1 0 37,0 1 40,1 1 40,0 0 44,0 1 44,1-3-214,-2-2-110,-8-3-72,28 0-102,0-1 0,-1 0-1,1-1 1,-6-2-7,-2-3 8,4-4 43,10 9-28,0-1 1,0 0 0,0 0-1,0 1 1,1-1 0,-1 0-1,1-1 1,0 0-24,-2-7 116,0 0 1,1 0-1,1 0 0,0-12-116,-2-6 119,-4-20 18,-2 1 0,-3 1 0,-2 0 0,-1 0 1,-3 2-1,-8-13-137,-10-16 349,-11-10-349,-50-71 246,16 39-83,-9 5-49,-6 7-42,-9 7-38,52 54-44,-1 2 1,-3 3 0,-11-4 9,15 13-42,-1 2 0,-2 2 1,-44-12 41,38 18-70,-2 3 0,-38-4 70,23 10-52,1 3-1,-1 3 1,-42 5 52,27 5-78,0 4 0,-75 18 78,71-5-139,-33 15 139,-49 27-114,3 17 45,93-38 55,2 4 1,3 3-1,1 4 1,4 3-1,-8 12 14,53-43-22,1 2 0,2 1 0,0 1 0,2 2 0,-15 27 22,-3 19 11,7 5 46,0 28 99,14-39-57,5-25-73,0-10-46,-2-2-49,14-30 76,0 0 0,0 0 0,-1 0 1,0-1-1,0 0 0,-1 0 1,1 0-1,-4 2-7,-51 31 62,21-15-49,32-19 35,1 0-47,-6 4-100,-8 5-177,20-11 233,-4 13 25,2-11-44,2-3-60,-2 5 14,-2 6-43,5 0 10,10 10-82,16 8-32,0 2-8,-24-21 330,-3-10-59,-1-1-1,1 1 1,0-1-1,-1 1 1,1-1-1,-1 1 0,1-1 1,0 1-1,-1-1 1,1 0-1,-1 1 1,1-1-1,-1 0 0,1 1 1,-1-1-1,1 0 1,-1 1-1,0-1 1,1 0-1,-1 0 0,1 0 1,-2 0-8,-17 2 157,8-2-101,8 0-52,-53-4 208,6-6-91,-7-1-43,-74-9-22,-2 4-36,54 9-29,1 3 0,-33 4 9,26 5-95,0 4 0,1 3 1,-53 16 94,83-13-64,1 2 1,0 2 0,-9 8 63,22-8-88,1 3 0,-18 13 88,-72 56-282,98-65 234,-1 2 39,3 2 60,13-16 39,5-3-50,1 0-33,2 2-46,4 3-54,3-8 78,0 1 1,1 0-1,0-1 1,1 5 14,0-1-6,2 0 0,-1 0-1,1 0 1,4 9 6,23 46-22,-7-24-33,3 1 44,1-1 1,11 10 10,-6-13 14,1-1 0,2-2 1,38 32-15,-38-40 12,0-2 0,1-2-1,2-1 1,1-2 0,0-2 0,2-1 0,0-2 0,23 5-12,-26-11 188,1-1-122,0-1-111,0-1-98,1-2-87,0 0-75,0-2-64,0-1-53,28-1-372,-22-3-201,0-2-1,19-4 996,-18-2-567,-1-2 54,2-2 212,22-10-64,-70 23 364</inkml:trace>
  <inkml:trace contextRef="#ctx0" brushRef="#br0" timeOffset="6">920 1057 12544,'0'3'504,"0"4"490,1-2-74,0 1-84,1-2-93,1 0-104,2 0-113,2-1-123,-2-1-251,0 0-35,28 6 790,2-2-122,2-2-112,1-1-102,1-2-92,0 0-82,0-1-71,1-1-61,-23 1-167,54-1 222,0-2-41,0 0-38,1-1-36,70-5 109,1-3-109,-28 1-105,-1-1-44,24-4-32,67-8-36,32-3 5,-80 9 53,-114 14-152,0-1 46,44-5 29,66-6 51,-102 10-55,0 1-48,-9 1-35,1 0-54,0 0-63,-1 1-74,-7 0-10,1 0-64,-1 1-67,0 0-75,0 0-78,-1 0-85,1 0-91,-1 1-94,16 1-1266,-37 0 1467,-1 0 59,-1 1-46,-2 0 111,-4 1 94,-2 0 78,-4 3-108,-7 4-88</inkml:trace>
  <inkml:trace contextRef="#ctx0" brushRef="#br0" timeOffset="7">263 1660 12288,'-25'5'1619,"10"-2"-622,5 0-259,2-1-114,5-1-303,0 0-48,2 0-43,1 0-33,1 0 63,4 1 64,8 2 53,0-1-36,14 2 245,0-2-116,2-2-95,-6-1-132,1 0-41,5-1 1,14-1 53,27-2 147,45 0-16,2-1-99,2-1-82,0-1-66,24-2-36,259-20 51,-232 16-37,144-13-74,-178 13-53,15-2-75,-75 7 0,-1 0-34,50-7-173,-62 7 97,-1 0-39,0 0-39,-1-1-44,1 1-46,-1-1-50,-17 2 80,-22 3 125,0 1-37,7-2-154,-1 0-98,-5 1-8,0 0-91,0 0-103,0 0-114,-3 1 41,-1-1-93,0 1-98,0-1-106,0 1-110,1-1-117,-1 1-124,-9 1 661,0 0-33,4 0-187,-2-1 114,1 1-59,5-2-338</inkml:trace>
  <inkml:trace contextRef="#ctx0" brushRef="#br0" timeOffset="8">1 2649 15872,'8'2'863,"0"0"-81,1-1-69,-2 1-75,1 0-68,0-1-65,-1 1-61,0 0-54,1-1-51,-1 1-46,2-1 4,0 1-52,0 0-44,0-1-35,9 2 68,28 3 221,-29-4-346,68 8 417,-22-5-215,-2-3-90,8-2-49,-5-3-156,53-4-85,-42 2-53,1-2-108,-1 0-95,1-1-80,15-2-171,1-2-75,18-2-197,55-10-480,0-2 51,-55 8 521,-18 2 217,-1 0 107,-15 2 170,0 1 104,0-1 117,-39 7 68,1 0 34,105-20-199,73-14 37,-215 41 10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438622-0837-4E9E-A16C-0B0206CE676E}" type="datetimeFigureOut">
              <a:rPr lang="en-US" smtClean="0"/>
              <a:t>11/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AE778D-2A57-4226-B72B-26EA3CA60131}" type="slidenum">
              <a:rPr lang="en-US" smtClean="0"/>
              <a:t>‹#›</a:t>
            </a:fld>
            <a:endParaRPr lang="en-US"/>
          </a:p>
        </p:txBody>
      </p:sp>
    </p:spTree>
    <p:extLst>
      <p:ext uri="{BB962C8B-B14F-4D97-AF65-F5344CB8AC3E}">
        <p14:creationId xmlns:p14="http://schemas.microsoft.com/office/powerpoint/2010/main" val="9065523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2460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1153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SG" dirty="0"/>
              <a:t>So, let us start with pre-built AI using Cognitive Services. Probably, you saw this slide, if you saw any presentation about Cognitive Services. </a:t>
            </a:r>
            <a:endParaRPr lang="en-US" dirty="0"/>
          </a:p>
        </p:txBody>
      </p:sp>
      <p:sp>
        <p:nvSpPr>
          <p:cNvPr id="4" name="Header Placeholder 3"/>
          <p:cNvSpPr>
            <a:spLocks noGrp="1"/>
          </p:cNvSpPr>
          <p:nvPr>
            <p:ph type="hdr" sz="quarter" idx="10"/>
          </p:nvPr>
        </p:nvSpPr>
        <p:spPr/>
        <p:txBody>
          <a:bodyPr/>
          <a:lstStyle/>
          <a:p>
            <a:pPr marL="0" marR="0" lvl="0" indent="0" algn="l" defTabSz="9858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067"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3974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SG" dirty="0"/>
              <a:t>Basically, we are providing here a higher level services that you can just use and consume like Computer Vision or Speech Recognition or Language Understanding.</a:t>
            </a:r>
            <a:endParaRPr lang="en-US" dirty="0"/>
          </a:p>
        </p:txBody>
      </p:sp>
      <p:sp>
        <p:nvSpPr>
          <p:cNvPr id="4" name="Header Placeholder 3"/>
          <p:cNvSpPr>
            <a:spLocks noGrp="1"/>
          </p:cNvSpPr>
          <p:nvPr>
            <p:ph type="hdr" sz="quarter" idx="10"/>
          </p:nvPr>
        </p:nvSpPr>
        <p:spPr/>
        <p:txBody>
          <a:bodyPr/>
          <a:lstStyle/>
          <a:p>
            <a:pPr marL="0" marR="0" lvl="0" indent="0" algn="l" defTabSz="9858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604067"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705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6923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let’s move on to the next section. So now, let’s talk about cost of machine learning and specifically using ML.NET.</a:t>
            </a:r>
            <a:br>
              <a:rPr lang="en-SG" dirty="0"/>
            </a:br>
            <a:r>
              <a:rPr lang="en-SG" dirty="0"/>
              <a:t>So, the first question is okay. So you have pre-trained, pre-built machine learning, is that enough for me like Cognitive Services? Well, assume  know the answer is it depends. It might fit your needs, but sometimes you need something else. </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35757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for instance, if you use Cognitive Services sentiment analysis service and then you provide like these. This is a great vacuum cleaner then that’s a positive , righ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3818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SG" dirty="0"/>
              <a:t>But, if you provide another sentence like these they can cleaner sucks so much dirt that will identified as not positive and you might want to train these in a different way, right? So, this is just one exampl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286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4BF349-24F6-4F70-9237-4FAFA9D30CB9}"/>
              </a:ext>
            </a:extLst>
          </p:cNvPr>
          <p:cNvSpPr>
            <a:spLocks noGrp="1"/>
          </p:cNvSpPr>
          <p:nvPr>
            <p:ph type="body" idx="1"/>
          </p:nvPr>
        </p:nvSpPr>
        <p:spPr/>
        <p:txBody>
          <a:bodyPr/>
          <a:lstStyle/>
          <a:p>
            <a:r>
              <a:rPr lang="en-SG" dirty="0"/>
              <a:t>But there are many cases where you want to not just train with your data that you can do with Custom Vision, but also there are other services in Cognitive Services that you can do custom training and you might also use different algorithms. So for DOD in Custom Vison, you typically have different phases. You prepare your data, you need to work with the data, message your data a lot, and then you need to build and train your own model. </a:t>
            </a:r>
            <a:br>
              <a:rPr lang="en-SG" dirty="0"/>
            </a:br>
            <a:r>
              <a:rPr lang="en-SG" dirty="0"/>
              <a:t>So, this is the difference compared to pre-built AI, and then just run it or consume it, or use it in your application.</a:t>
            </a:r>
            <a:endParaRPr lang="en-US" dirty="0"/>
          </a:p>
        </p:txBody>
      </p:sp>
    </p:spTree>
    <p:extLst>
      <p:ext uri="{BB962C8B-B14F-4D97-AF65-F5344CB8AC3E}">
        <p14:creationId xmlns:p14="http://schemas.microsoft.com/office/powerpoint/2010/main" val="2059016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 a little bit more detail in process is you have a bunch of historic data, then you will be building your model and training with that data and then you test it, you evaluate the accuracy of your models, and when you think it’s good, then you generate  model file, which in the case of ML.NET is a zip file, and then you run it or predict or score in any applicati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6849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dirty="0"/>
              <a:t>So, ML.NET is a framework first made for data developers, and it’s proven and extensible because we’ve been using these libraries internally in Microsoft for quite a few years. I know we are making it public and simplifying it with a new API.</a:t>
            </a: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E1954-42E9-4D15-8745-9DC5690640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5074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55166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SG" dirty="0"/>
              <a:t>Basically, if we go back to the process that we previously saw. You can build and train your models on  .NET Core or .NET Framework by simply adding the NuGet packages of .NET ML.NET in your application. In the future we will also provide a UI application model builder, so you can use it graphically as well and then that zip file with your model, then you can use it in your application, which also be  .NET Core or .NET Framework and simply by adding the NuGet package of ML.NET and loading that zip file and then scoring or predicting. So, that’s the high level process visi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3551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C75E690D-6112-46F1-A240-DA97404B9DE7}"/>
              </a:ext>
            </a:extLst>
          </p:cNvPr>
          <p:cNvSpPr>
            <a:spLocks noGrp="1"/>
          </p:cNvSpPr>
          <p:nvPr>
            <p:ph type="body" idx="1"/>
          </p:nvPr>
        </p:nvSpPr>
        <p:spPr/>
        <p:txBody>
          <a:bodyPr/>
          <a:lstStyle/>
          <a:p>
            <a:r>
              <a:rPr lang="en-SG" dirty="0"/>
              <a:t>Then, what can you do with ML.NET? Usually ML.NET focuses most of all on the traditional machine learning problems with data, which is very useful for the enterprise, for instance. So you can identify some data is a or b, which is binary classification, or you can predict how much about something like forecasting, or clustering and so on.</a:t>
            </a:r>
            <a:endParaRPr lang="en-US" dirty="0"/>
          </a:p>
        </p:txBody>
      </p:sp>
    </p:spTree>
    <p:extLst>
      <p:ext uri="{BB962C8B-B14F-4D97-AF65-F5344CB8AC3E}">
        <p14:creationId xmlns:p14="http://schemas.microsoft.com/office/powerpoint/2010/main" val="42575388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there are many problems that we can solve with machine learning like predictive value. It would be regression or something is A or B, binary classification or detect issues or problems that might happen in some, for instance, in devices coming a bunch of events, then you might detect anomaly detection, and so on. So, we want to simplify this. So, we’re showing you problems instead of ML tasks in all the documentation on samples, and so we make it simpler to use.</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11192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something we really want to highlight is that ML.NET is a framework first. So, it’s basically libraries, NuGet packages, but we will also provide tooling for it, and these for custom machine learning. So you can build and train, or you can then run any model. It supports .NET Core or .NET Framework. Then here are the elements that you use with this API. You use transforms to make transformations, to concatenate data within dataset that you’re going to be using for the training, or convert to numeric vectors, </a:t>
            </a:r>
            <a:r>
              <a:rPr lang="en-SG" dirty="0" err="1"/>
              <a:t>featurize</a:t>
            </a:r>
            <a:r>
              <a:rPr lang="en-SG" dirty="0"/>
              <a:t>, and so on. We have learners or algorithms that once you want to use depending on the problem. Finally, we are also integrating or extending ML.NET with deep learning frameworks like in this case, </a:t>
            </a:r>
            <a:r>
              <a:rPr lang="en-SG" dirty="0" err="1"/>
              <a:t>Tensorflow</a:t>
            </a:r>
            <a:r>
              <a:rPr lang="en-SG" dirty="0"/>
              <a: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6348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I want to really highlight that this is not something just new even when it is in preview. We’ve been using internally ML.NET in Microsoft in products like Bing or Excel or PowerPoint or Windows 10.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634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Just a final highlight about ML.NET is that it’s also we want to democratize custom AI or custom machine learning for .NET developers. So, the difference is that we are targeting  .NET developers with ML.NET either for training models, and also we would provide in this democratization based on code APIs, but also on a UI tool that we’ll be releasing so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5002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n finally, I also want to highlight third useful in your Enterprise, the Enterprise might be researching not just AI/ML, but also maybe microservices and bots, and so on. So, that’s why we are also releasing this sample or this reference application that I was showing.</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88594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mething else that I want to highlight is about Azure Stream Analytics. So this is right now generally available and you can integrate machine learning and also with ML.NET with Stream Analytics. So Stream Analytics is made, so you can gather millions of events from devices and then through IoT hub. Then, in real time, you could also create queries and those queries could also talking to your models and depending on what you are predicting, you could do different things. That’s one way of using Stream Analytics integrated to Machine Learning. A very typical thing would be for predictive maintenance. Then, in real time, you could be predicting what’s going on the devices, if there’s an issue. Then, the other possibility,</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4522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And this is new, this is in private preview right now, but you can request access in that URL above. You can also use Azure Stream Analytics within an IoT device, run it on the Edge, and gather the vents from the devices.  Let’s say, you have Raspberry Pi doing that or any other IoT Edge device, and you run Azure Stream Analytics internally in that device. You can also, and this is new, you could also because this is C-Sharp as well, you could create a module in C-Sharp, which is a C-Sharp function and then use ML.NET for scoring models. So any model that you created, you train outside, then you could reuse it within the IoT Edge device, and then on the fly, you could be predicting if there’s an issue or whatever the problem you’re solving or you’re predicting, and then finally, communicating with the Cloud.</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349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at’s almost all that I wanted to cover. So you have more resources in the .NET Machine Learning page. Also, if you want to see a simple “Hello World” very easy to get started samples, go to </a:t>
            </a:r>
            <a:r>
              <a:rPr lang="en-SG" dirty="0" err="1"/>
              <a:t>github</a:t>
            </a:r>
            <a:r>
              <a:rPr lang="en-SG" dirty="0"/>
              <a:t>/</a:t>
            </a:r>
            <a:r>
              <a:rPr lang="en-SG" dirty="0" err="1"/>
              <a:t>donet</a:t>
            </a:r>
            <a:r>
              <a:rPr lang="en-SG" dirty="0"/>
              <a:t>/</a:t>
            </a:r>
            <a:r>
              <a:rPr lang="en-SG" dirty="0" err="1"/>
              <a:t>machinelearnig</a:t>
            </a:r>
            <a:r>
              <a:rPr lang="en-SG" dirty="0"/>
              <a:t>-samples. You can also go to the ML .NET page if you want a see the internals about ML.NET and collaborate with the open source project. </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627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63B5FEB4-B913-4A29-BB55-9095DCD83D6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t>Basically, machine learning is a way to create function that was very difficult to do with traditional programming. </a:t>
            </a:r>
            <a:br>
              <a:rPr lang="en-SG" dirty="0"/>
            </a:br>
            <a:endParaRPr lang="en-US" dirty="0"/>
          </a:p>
        </p:txBody>
      </p:sp>
    </p:spTree>
    <p:extLst>
      <p:ext uri="{BB962C8B-B14F-4D97-AF65-F5344CB8AC3E}">
        <p14:creationId xmlns:p14="http://schemas.microsoft.com/office/powerpoint/2010/main" val="24737813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9071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31926DA3-C965-49E9-A6D2-0C8CFCAF80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t>So, for instance, you could create a function to identify objects, is this a face or not?</a:t>
            </a:r>
            <a:br>
              <a:rPr lang="en-SG" dirty="0"/>
            </a:br>
            <a:r>
              <a:rPr lang="en-SG" dirty="0"/>
              <a:t>If you were doing that in the traditional way, it would be very complex, like trying to identify if it has a mouth or eyes, etc.</a:t>
            </a:r>
            <a:br>
              <a:rPr lang="en-SG" dirty="0"/>
            </a:br>
            <a:r>
              <a:rPr lang="en-SG" dirty="0"/>
              <a:t>But instead of that, or another example would be you want to say what’s going to be the price of a shirt.</a:t>
            </a:r>
            <a:br>
              <a:rPr lang="en-SG" dirty="0"/>
            </a:br>
            <a:r>
              <a:rPr lang="en-SG" dirty="0"/>
              <a:t>So, in order to do that with AI you need to train a model. So, therefore, you provide a bunch of data about faces, so you say “This is a face, this is not a face.”. Then, based on that training, the model would work. Something important is that you need a lot of data to train machine learning models.</a:t>
            </a:r>
            <a:br>
              <a:rPr lang="en-SG" dirty="0"/>
            </a:br>
            <a:endParaRPr lang="en-US" dirty="0"/>
          </a:p>
          <a:p>
            <a:endParaRPr lang="en-US" dirty="0"/>
          </a:p>
        </p:txBody>
      </p:sp>
    </p:spTree>
    <p:extLst>
      <p:ext uri="{BB962C8B-B14F-4D97-AF65-F5344CB8AC3E}">
        <p14:creationId xmlns:p14="http://schemas.microsoft.com/office/powerpoint/2010/main" val="4120670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1142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what problems can you solve with machine learning? There are many problems. </a:t>
            </a:r>
          </a:p>
          <a:p>
            <a:r>
              <a:rPr lang="en-SG" dirty="0"/>
              <a:t>Also, those problems are related to more technical ML tasks.</a:t>
            </a:r>
            <a:br>
              <a:rPr lang="en-SG" dirty="0"/>
            </a:br>
            <a:r>
              <a:rPr lang="en-SG" dirty="0"/>
              <a:t>This is another world for developers, like many things like regression, clustering, anomaly detection, and so 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276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What we want to do with Microsoft Development technologies is to simplify these from a development perspective.</a:t>
            </a:r>
            <a:br>
              <a:rPr lang="en-SG" dirty="0"/>
            </a:br>
            <a:r>
              <a:rPr lang="en-SG" dirty="0"/>
              <a:t>Instead of having to learn the low level details about machine learning, even those formulas for logistic regression or whatever, we just want to democratize, so it is easy to se AI in general for developers.</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7033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592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t>So, let’s first position the multiple technologies that we have for AI. </a:t>
            </a:r>
            <a:endParaRPr lang="en-US" dirty="0"/>
          </a:p>
          <a:p>
            <a:r>
              <a:rPr lang="en-SG" dirty="0"/>
              <a:t>First of all, you could have technologies that you can consume like pre-built AI.</a:t>
            </a:r>
          </a:p>
          <a:p>
            <a:r>
              <a:rPr lang="en-SG" dirty="0"/>
              <a:t>For that, you could use Azure Cognitive Services or other pre-trained models like ONNX, which is on its or </a:t>
            </a:r>
            <a:r>
              <a:rPr lang="en-SG" dirty="0" err="1"/>
              <a:t>CoreML</a:t>
            </a:r>
            <a:r>
              <a:rPr lang="en-SG" dirty="0"/>
              <a:t> or Windows ML in your program. So basically, you are takin up pre-trained model and you are just running it or predicting what we call the scoring and just to us it in your applications. So, you’re infusing machine learning to your current applications. But you can go further because you can also create your own AI, your own machine learning models. So for instance, we have multiple choices. You could use Azure Machine Learning Studio or you could use Machine Learning </a:t>
            </a:r>
            <a:r>
              <a:rPr lang="en-SG" dirty="0" err="1"/>
              <a:t>.net</a:t>
            </a:r>
            <a:r>
              <a:rPr lang="en-SG" dirty="0"/>
              <a:t>, ML.NET or you can also use other deep learning technologies like TensorFlow, CNTK or Torch.</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8/2018 5: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6992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7.xml"/><Relationship Id="rId5" Type="http://schemas.openxmlformats.org/officeDocument/2006/relationships/image" Target="../media/image36.png"/><Relationship Id="rId4" Type="http://schemas.openxmlformats.org/officeDocument/2006/relationships/image" Target="../media/image35.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9.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g"/><Relationship Id="rId1" Type="http://schemas.openxmlformats.org/officeDocument/2006/relationships/slideMaster" Target="../slideMasters/slideMaster8.xml"/><Relationship Id="rId4" Type="http://schemas.openxmlformats.org/officeDocument/2006/relationships/image" Target="../media/image23.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8.emf"/><Relationship Id="rId1" Type="http://schemas.openxmlformats.org/officeDocument/2006/relationships/slideMaster" Target="../slideMasters/slideMaster8.xml"/><Relationship Id="rId4" Type="http://schemas.openxmlformats.org/officeDocument/2006/relationships/image" Target="../media/image39.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4.svg"/><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6.svg"/><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2.sv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5.png"/><Relationship Id="rId7"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3.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3.svg"/><Relationship Id="rId7"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5.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Pr>
        <a:solidFill>
          <a:schemeClr val="tx2"/>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7" name="Picture 6">
            <a:extLst>
              <a:ext uri="{FF2B5EF4-FFF2-40B4-BE49-F238E27FC236}">
                <a16:creationId xmlns:a16="http://schemas.microsoft.com/office/drawing/2014/main" id="{ED0A4477-3871-4DF2-9A11-758395CBB3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62093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CDE476F8-3202-455E-A5A9-12A7BD05A45E}"/>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E253B176-78F6-4B3B-BFA1-2D5A8310F4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7" name="Graphic 6">
              <a:extLst>
                <a:ext uri="{FF2B5EF4-FFF2-40B4-BE49-F238E27FC236}">
                  <a16:creationId xmlns:a16="http://schemas.microsoft.com/office/drawing/2014/main" id="{360A974D-3BFC-4EF7-9851-AC064B247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306715219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811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1074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118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58330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03515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9036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988763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0157B-C3AF-4CAE-9371-8C5E266AB7F1}"/>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190C527-7AB1-4751-BB10-908BDF563B7E}"/>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5FC743-E694-405E-8FF8-91F477F704D8}"/>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9DEC2544-0AE0-4DD7-B882-6CC596D4F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189D43-5B65-40F9-B98D-8B41B7B4EB5E}"/>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10893236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F7BFE-DB45-40FC-8976-B7E77B1C69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D23C73-8DAA-4705-9AD2-440741D00B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FFF052-5FF2-42EB-A0E3-321ACAA723DA}"/>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A7285295-CFB6-48EE-A9B9-2CA107A350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A46556-4474-4BDC-8022-61D1EB877A31}"/>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73910139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046B8-76A7-4BB3-910A-4EC8326672D4}"/>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E3FD7E56-FA8A-4029-B7A4-FF8D11C0DEFD}"/>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2180837-5E86-4710-88ED-629B6127A8C1}"/>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B0E26483-15E0-4626-B9CA-5B5078524F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52AE1E-2358-4B91-95DF-08D072C77E5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520210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178135" y="2082614"/>
            <a:ext cx="3927804"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58259" y="2082614"/>
            <a:ext cx="3927804" cy="3586208"/>
          </a:xfrm>
          <a:solidFill>
            <a:schemeClr val="accent3"/>
          </a:solidFill>
          <a:ln>
            <a:noFill/>
          </a:ln>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138382" y="2082614"/>
            <a:ext cx="3875483"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a:extLst>
              <a:ext uri="{FF2B5EF4-FFF2-40B4-BE49-F238E27FC236}">
                <a16:creationId xmlns:a16="http://schemas.microsoft.com/office/drawing/2014/main" id="{93C1D21A-13FA-4921-8587-2676E9000AD2}"/>
              </a:ext>
            </a:extLst>
          </p:cNvPr>
          <p:cNvGrpSpPr/>
          <p:nvPr userDrawn="1"/>
        </p:nvGrpSpPr>
        <p:grpSpPr>
          <a:xfrm>
            <a:off x="8748345" y="5922334"/>
            <a:ext cx="3378393" cy="899665"/>
            <a:chOff x="8748345" y="5922334"/>
            <a:chExt cx="3378393" cy="899665"/>
          </a:xfrm>
        </p:grpSpPr>
        <p:pic>
          <p:nvPicPr>
            <p:cNvPr id="9" name="Graphic 8">
              <a:extLst>
                <a:ext uri="{FF2B5EF4-FFF2-40B4-BE49-F238E27FC236}">
                  <a16:creationId xmlns:a16="http://schemas.microsoft.com/office/drawing/2014/main" id="{1B6611E8-3581-489B-99BB-A28D107049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10" name="Graphic 9">
              <a:extLst>
                <a:ext uri="{FF2B5EF4-FFF2-40B4-BE49-F238E27FC236}">
                  <a16:creationId xmlns:a16="http://schemas.microsoft.com/office/drawing/2014/main" id="{863807A5-741F-4EF9-ADF0-D6CF1F16FC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2734129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13E38-D8AC-458F-ACA6-C8A0DF4CEA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78D025-AC33-4A55-B051-E401A58CFC9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FA0A31-7760-402A-B0AF-F0CFA60046C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52D19B-3D75-4190-B3E6-FB2D44A62F86}"/>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6" name="Footer Placeholder 5">
            <a:extLst>
              <a:ext uri="{FF2B5EF4-FFF2-40B4-BE49-F238E27FC236}">
                <a16:creationId xmlns:a16="http://schemas.microsoft.com/office/drawing/2014/main" id="{09AF5B4F-B0CC-4351-A62B-1DFB726CD9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8DB4C3-5E51-444B-8302-CF835724779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40795017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B0A59-8E58-4DB8-961B-51D4C8635D3A}"/>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225DFB-637A-497D-9B88-47C9F4AFF081}"/>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43629F0-6611-41C5-8090-9D1864E3370D}"/>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2A871A-951C-484A-8A33-F05804B92C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B5B984-4B8A-4D20-A6F1-A3500833DA4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BEE753-4CB7-4046-80E4-EBF5057B3622}"/>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8" name="Footer Placeholder 7">
            <a:extLst>
              <a:ext uri="{FF2B5EF4-FFF2-40B4-BE49-F238E27FC236}">
                <a16:creationId xmlns:a16="http://schemas.microsoft.com/office/drawing/2014/main" id="{0CCACDB1-7214-41C1-812F-E3FFCC42E7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0E9799-1424-4736-8F52-CFB31E8354E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8845955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F1BD-042E-4407-9A48-C31D84329C9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072507-5953-4552-955D-94C93294BF2F}"/>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4" name="Footer Placeholder 3">
            <a:extLst>
              <a:ext uri="{FF2B5EF4-FFF2-40B4-BE49-F238E27FC236}">
                <a16:creationId xmlns:a16="http://schemas.microsoft.com/office/drawing/2014/main" id="{F0B84771-F90C-44D8-B561-018AAB15D6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1D7CFD-5703-4D38-B4D7-6BAC4BC4D51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40521171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5F675-AD9D-4454-A625-A3096DDDA776}"/>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3" name="Footer Placeholder 2">
            <a:extLst>
              <a:ext uri="{FF2B5EF4-FFF2-40B4-BE49-F238E27FC236}">
                <a16:creationId xmlns:a16="http://schemas.microsoft.com/office/drawing/2014/main" id="{4BA3B879-14A3-4F03-BCC0-AE73951109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44DDE9B-09A0-40BA-8E83-253D51C3A05A}"/>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72335669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3E5BA-8116-4F27-9C64-08EA25C6665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097562-6A6E-452C-BE28-CA8F5800B5C0}"/>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8BD460-4216-475B-AD32-C3E4A8303E1F}"/>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DF1CBB-8344-44E1-BD16-7D93EECC2ACF}"/>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6" name="Footer Placeholder 5">
            <a:extLst>
              <a:ext uri="{FF2B5EF4-FFF2-40B4-BE49-F238E27FC236}">
                <a16:creationId xmlns:a16="http://schemas.microsoft.com/office/drawing/2014/main" id="{06EBC260-A7A8-4B2B-8856-A297CFA0E6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685DD7-ACB7-4826-9092-9D4ABF6B33EF}"/>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73978403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2356E-C24A-4F1B-8E41-58EDC09F841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24F82B-159D-49BA-A891-322EB7BAD9C4}"/>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a:extLst>
              <a:ext uri="{FF2B5EF4-FFF2-40B4-BE49-F238E27FC236}">
                <a16:creationId xmlns:a16="http://schemas.microsoft.com/office/drawing/2014/main" id="{6640EC56-54A8-40BA-B95C-D5C8AAEBDD58}"/>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CE5735-EA7E-4388-BE96-A2A7E93253AF}"/>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6" name="Footer Placeholder 5">
            <a:extLst>
              <a:ext uri="{FF2B5EF4-FFF2-40B4-BE49-F238E27FC236}">
                <a16:creationId xmlns:a16="http://schemas.microsoft.com/office/drawing/2014/main" id="{9673E8A2-99E2-4BB9-8A6A-FBC79B2DDE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0DB785-34B5-4943-B2ED-51A7F8E8968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4685774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BF468-05B1-4AB5-A940-02F665C49F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223B92-4064-4BF8-915F-60FB1C5925F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2342C-4708-482A-A5A0-E774951A9C4B}"/>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23C51096-C18C-4A2E-A4D9-67A7158A5D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A47DA-FF04-4395-9D3F-D7E7B1AFF56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0371162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7AC7CF-6EBE-495C-8B91-9761A1C7A5D9}"/>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02F745-E8B4-4672-8202-16CAAC1CCF4C}"/>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F14A34-732A-472B-A7F2-9CCD63FEEEC0}"/>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31E904F6-9CA4-4046-859A-75D3D9044A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4FBB00-8E56-48FD-B3FA-781ED5669B60}"/>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4713727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9"/>
            <a:ext cx="3194464" cy="276999"/>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527099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3035178"/>
            <a:ext cx="6675120" cy="4985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a:t>
            </a:r>
          </a:p>
        </p:txBody>
      </p:sp>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pic>
        <p:nvPicPr>
          <p:cNvPr id="11" name="Picture 10">
            <a:extLst>
              <a:ext uri="{FF2B5EF4-FFF2-40B4-BE49-F238E27FC236}">
                <a16:creationId xmlns:a16="http://schemas.microsoft.com/office/drawing/2014/main" id="{5E70C700-A182-42C7-B374-5A68650015BA}"/>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93688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de Sampl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94C3A-647A-4380-8F58-7DACBC37B8D6}"/>
              </a:ext>
            </a:extLst>
          </p:cNvPr>
          <p:cNvSpPr>
            <a:spLocks noGrp="1"/>
          </p:cNvSpPr>
          <p:nvPr>
            <p:ph type="title"/>
          </p:nvPr>
        </p:nvSpPr>
        <p:spPr/>
        <p:txBody>
          <a:bodyPr/>
          <a:lstStyle/>
          <a:p>
            <a:r>
              <a:rPr lang="en-US"/>
              <a:t>Click to edit Master title style</a:t>
            </a:r>
          </a:p>
        </p:txBody>
      </p:sp>
      <p:grpSp>
        <p:nvGrpSpPr>
          <p:cNvPr id="4" name="Group 3">
            <a:extLst>
              <a:ext uri="{FF2B5EF4-FFF2-40B4-BE49-F238E27FC236}">
                <a16:creationId xmlns:a16="http://schemas.microsoft.com/office/drawing/2014/main" id="{BE68560B-FABA-46FC-9E46-CDAB6A110710}"/>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E1FEB46C-624E-4AAB-9EB9-FCE899FE26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6" name="Graphic 5">
              <a:extLst>
                <a:ext uri="{FF2B5EF4-FFF2-40B4-BE49-F238E27FC236}">
                  <a16:creationId xmlns:a16="http://schemas.microsoft.com/office/drawing/2014/main" id="{2CA957AC-BF71-4947-B985-BA3A07E7D5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414964827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187534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276999"/>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1992203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296850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1978170"/>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369880"/>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33157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One Column Subhead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6">
                <a:solidFill>
                  <a:schemeClr val="tx2"/>
                </a:solidFill>
                <a:latin typeface="Segoe UI Light"/>
                <a:cs typeface="Segoe UI Light"/>
              </a:defRPr>
            </a:lvl1pPr>
          </a:lstStyle>
          <a:p>
            <a:r>
              <a:rPr lang="en-US"/>
              <a:t>Click to edit Master title style</a:t>
            </a:r>
          </a:p>
        </p:txBody>
      </p:sp>
      <p:sp>
        <p:nvSpPr>
          <p:cNvPr id="10" name="Text Placeholder 2"/>
          <p:cNvSpPr>
            <a:spLocks noGrp="1"/>
          </p:cNvSpPr>
          <p:nvPr>
            <p:ph type="body" idx="11"/>
          </p:nvPr>
        </p:nvSpPr>
        <p:spPr>
          <a:xfrm>
            <a:off x="304800" y="1286338"/>
            <a:ext cx="11582400" cy="554421"/>
          </a:xfrm>
          <a:prstGeom prst="rect">
            <a:avLst/>
          </a:prstGeom>
        </p:spPr>
        <p:txBody>
          <a:bodyPr lIns="0" tIns="0" rIns="0" bIns="0" anchor="ctr"/>
          <a:lstStyle>
            <a:lvl1pPr marL="0" indent="0">
              <a:buNone/>
              <a:defRPr sz="3332" b="0">
                <a:solidFill>
                  <a:schemeClr val="accent1"/>
                </a:solidFill>
                <a:latin typeface="Segoe UI"/>
                <a:cs typeface="Segoe UI"/>
              </a:defRPr>
            </a:lvl1pPr>
            <a:lvl2pPr marL="609468" indent="0">
              <a:buNone/>
              <a:defRPr sz="2666" b="1"/>
            </a:lvl2pPr>
            <a:lvl3pPr marL="1218935" indent="0">
              <a:buNone/>
              <a:defRPr sz="2400" b="1"/>
            </a:lvl3pPr>
            <a:lvl4pPr marL="1828403" indent="0">
              <a:buNone/>
              <a:defRPr sz="2132" b="1"/>
            </a:lvl4pPr>
            <a:lvl5pPr marL="2437871" indent="0">
              <a:buNone/>
              <a:defRPr sz="2132" b="1"/>
            </a:lvl5pPr>
            <a:lvl6pPr marL="3047339" indent="0">
              <a:buNone/>
              <a:defRPr sz="2132" b="1"/>
            </a:lvl6pPr>
            <a:lvl7pPr marL="3656806" indent="0">
              <a:buNone/>
              <a:defRPr sz="2132" b="1"/>
            </a:lvl7pPr>
            <a:lvl8pPr marL="4266273" indent="0">
              <a:buNone/>
              <a:defRPr sz="2132" b="1"/>
            </a:lvl8pPr>
            <a:lvl9pPr marL="4875742" indent="0">
              <a:buNone/>
              <a:defRPr sz="2132" b="1"/>
            </a:lvl9pPr>
          </a:lstStyle>
          <a:p>
            <a:pPr lvl="0"/>
            <a:r>
              <a:rPr lang="en-US"/>
              <a:t>Click to edit Master text styles</a:t>
            </a:r>
          </a:p>
        </p:txBody>
      </p:sp>
      <p:sp>
        <p:nvSpPr>
          <p:cNvPr id="5" name="TextBox 4"/>
          <p:cNvSpPr txBox="1"/>
          <p:nvPr userDrawn="1"/>
        </p:nvSpPr>
        <p:spPr>
          <a:xfrm>
            <a:off x="297678" y="6379835"/>
            <a:ext cx="1395659" cy="167418"/>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7" name="Content Placeholder 2"/>
          <p:cNvSpPr>
            <a:spLocks noGrp="1"/>
          </p:cNvSpPr>
          <p:nvPr>
            <p:ph idx="1" hasCustomPrompt="1"/>
          </p:nvPr>
        </p:nvSpPr>
        <p:spPr>
          <a:xfrm>
            <a:off x="304800" y="1852430"/>
            <a:ext cx="11582400" cy="4220351"/>
          </a:xfrm>
          <a:prstGeom prst="rect">
            <a:avLst/>
          </a:prstGeom>
        </p:spPr>
        <p:txBody>
          <a:bodyPr lIns="0" tIns="0" rIns="0" bIns="0"/>
          <a:lstStyle>
            <a:lvl1pPr marL="243787" indent="-243787">
              <a:lnSpc>
                <a:spcPct val="100000"/>
              </a:lnSpc>
              <a:spcBef>
                <a:spcPts val="667"/>
              </a:spcBef>
              <a:buFont typeface="Arial" charset="0"/>
              <a:buChar char="•"/>
              <a:defRPr sz="3200" baseline="0">
                <a:solidFill>
                  <a:schemeClr val="tx1"/>
                </a:solidFill>
                <a:latin typeface="Segoe UI Light"/>
                <a:cs typeface="Segoe UI Light"/>
              </a:defRPr>
            </a:lvl1pPr>
            <a:lvl2pPr marL="609468" indent="-243787">
              <a:lnSpc>
                <a:spcPct val="100000"/>
              </a:lnSpc>
              <a:spcBef>
                <a:spcPts val="667"/>
              </a:spcBef>
              <a:buFont typeface="Arial" panose="020B0604020202020204" pitchFamily="34" charset="0"/>
              <a:buChar char="•"/>
              <a:defRPr sz="2932">
                <a:solidFill>
                  <a:schemeClr val="tx1"/>
                </a:solidFill>
                <a:latin typeface="Segoe UI Light"/>
                <a:cs typeface="Segoe UI Light"/>
              </a:defRPr>
            </a:lvl2pPr>
            <a:lvl3pPr marL="914201" indent="-243787">
              <a:lnSpc>
                <a:spcPct val="100000"/>
              </a:lnSpc>
              <a:spcBef>
                <a:spcPts val="667"/>
              </a:spcBef>
              <a:buFont typeface="Arial"/>
              <a:buChar char="•"/>
              <a:defRPr sz="2666">
                <a:solidFill>
                  <a:schemeClr val="tx1"/>
                </a:solidFill>
                <a:latin typeface="Segoe UI Light"/>
                <a:cs typeface="Segoe UI Light"/>
              </a:defRPr>
            </a:lvl3pPr>
            <a:lvl4pPr marL="1218935" marR="0" indent="-243787" algn="l" defTabSz="1218935"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190" indent="243787">
              <a:spcBef>
                <a:spcPts val="1333"/>
              </a:spcBef>
              <a:buFont typeface="Arial"/>
              <a:buChar char="•"/>
              <a:tabLst>
                <a:tab pos="2135254" algn="l"/>
              </a:tabLst>
              <a:defRPr sz="2666"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17581658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75981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solidFill>
                  <a:srgbClr val="797A7D"/>
                </a:soli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itle</a:t>
            </a:r>
            <a:endParaRPr lang="es-ES"/>
          </a:p>
        </p:txBody>
      </p:sp>
      <p:sp>
        <p:nvSpPr>
          <p:cNvPr id="9" name="Content Placeholder 8"/>
          <p:cNvSpPr>
            <a:spLocks noGrp="1"/>
          </p:cNvSpPr>
          <p:nvPr>
            <p:ph sz="quarter" idx="12" hasCustomPrompt="1"/>
          </p:nvPr>
        </p:nvSpPr>
        <p:spPr>
          <a:xfrm>
            <a:off x="373487" y="2774951"/>
            <a:ext cx="1627187" cy="292100"/>
          </a:xfrm>
        </p:spPr>
        <p:txBody>
          <a:bodyPr anchor="b"/>
          <a:lstStyle>
            <a:lvl1pPr marL="0" indent="0">
              <a:buNone/>
              <a:defRPr sz="1800">
                <a:solidFill>
                  <a:srgbClr val="797A7D"/>
                </a:solidFill>
              </a:defRPr>
            </a:lvl1pPr>
          </a:lstStyle>
          <a:p>
            <a:pPr lvl="0"/>
            <a:r>
              <a:rPr lang="en-US"/>
              <a:t>V0.1</a:t>
            </a:r>
            <a:endParaRPr lang="es-ES"/>
          </a:p>
        </p:txBody>
      </p:sp>
      <p:grpSp>
        <p:nvGrpSpPr>
          <p:cNvPr id="7" name="Group 6"/>
          <p:cNvGrpSpPr/>
          <p:nvPr userDrawn="1"/>
        </p:nvGrpSpPr>
        <p:grpSpPr>
          <a:xfrm>
            <a:off x="8949975" y="5644661"/>
            <a:ext cx="3064462" cy="1037493"/>
            <a:chOff x="-102625" y="1915958"/>
            <a:chExt cx="12294625" cy="4162425"/>
          </a:xfrm>
        </p:grpSpPr>
        <p:pic>
          <p:nvPicPr>
            <p:cNvPr id="8" name="Graphic 7" descr="Gavel"/>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625" y="2021498"/>
              <a:ext cx="3963425" cy="3963425"/>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5225" y="1915958"/>
              <a:ext cx="8486775" cy="4162425"/>
            </a:xfrm>
            <a:prstGeom prst="rect">
              <a:avLst/>
            </a:prstGeom>
          </p:spPr>
        </p:pic>
      </p:grpSp>
    </p:spTree>
    <p:extLst>
      <p:ext uri="{BB962C8B-B14F-4D97-AF65-F5344CB8AC3E}">
        <p14:creationId xmlns:p14="http://schemas.microsoft.com/office/powerpoint/2010/main" val="186452709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ver_without_version">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solidFill>
                  <a:srgbClr val="797A7D"/>
                </a:soli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itle</a:t>
            </a:r>
            <a:endParaRPr lang="es-ES"/>
          </a:p>
        </p:txBody>
      </p:sp>
    </p:spTree>
    <p:extLst>
      <p:ext uri="{BB962C8B-B14F-4D97-AF65-F5344CB8AC3E}">
        <p14:creationId xmlns:p14="http://schemas.microsoft.com/office/powerpoint/2010/main" val="91196647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2_Title Only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a:lstStyle>
          <a:p>
            <a:r>
              <a:rPr lang="es-ES"/>
              <a:t>Haga clic para modificar el estilo de título del patrón</a:t>
            </a:r>
            <a:endParaRPr lang="en-US"/>
          </a:p>
        </p:txBody>
      </p:sp>
    </p:spTree>
    <p:extLst>
      <p:ext uri="{BB962C8B-B14F-4D97-AF65-F5344CB8AC3E}">
        <p14:creationId xmlns:p14="http://schemas.microsoft.com/office/powerpoint/2010/main" val="12661714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a:lstStyle>
          <a:p>
            <a:r>
              <a:rPr lang="es-ES"/>
              <a:t>Haga clic para modificar el estilo de título del patrón</a:t>
            </a:r>
            <a:endParaRPr lang="en-US"/>
          </a:p>
        </p:txBody>
      </p:sp>
    </p:spTree>
    <p:extLst>
      <p:ext uri="{BB962C8B-B14F-4D97-AF65-F5344CB8AC3E}">
        <p14:creationId xmlns:p14="http://schemas.microsoft.com/office/powerpoint/2010/main" val="8681106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nnouncement">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1624135" y="0"/>
            <a:ext cx="8943730"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BB4BD62E-DE50-443B-986C-2AABE50DB8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grpSp>
        <p:nvGrpSpPr>
          <p:cNvPr id="10" name="Group 9">
            <a:extLst>
              <a:ext uri="{FF2B5EF4-FFF2-40B4-BE49-F238E27FC236}">
                <a16:creationId xmlns:a16="http://schemas.microsoft.com/office/drawing/2014/main" id="{8BD419A9-3976-4DF8-9145-60230B9FFB3C}"/>
              </a:ext>
            </a:extLst>
          </p:cNvPr>
          <p:cNvGrpSpPr/>
          <p:nvPr userDrawn="1"/>
        </p:nvGrpSpPr>
        <p:grpSpPr>
          <a:xfrm>
            <a:off x="8748345" y="5922334"/>
            <a:ext cx="3378393" cy="899665"/>
            <a:chOff x="8748345" y="5922334"/>
            <a:chExt cx="3378393" cy="899665"/>
          </a:xfrm>
        </p:grpSpPr>
        <p:pic>
          <p:nvPicPr>
            <p:cNvPr id="11" name="Graphic 10">
              <a:extLst>
                <a:ext uri="{FF2B5EF4-FFF2-40B4-BE49-F238E27FC236}">
                  <a16:creationId xmlns:a16="http://schemas.microsoft.com/office/drawing/2014/main" id="{141958B7-CE9C-4B67-A849-E0B8FF21C0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84787" y="5922334"/>
              <a:ext cx="841951" cy="899665"/>
            </a:xfrm>
            <a:prstGeom prst="rect">
              <a:avLst/>
            </a:prstGeom>
          </p:spPr>
        </p:pic>
        <p:pic>
          <p:nvPicPr>
            <p:cNvPr id="12" name="Graphic 11">
              <a:extLst>
                <a:ext uri="{FF2B5EF4-FFF2-40B4-BE49-F238E27FC236}">
                  <a16:creationId xmlns:a16="http://schemas.microsoft.com/office/drawing/2014/main" id="{D8E01EE3-1E92-417E-AC90-C15DFEF61D4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408960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089"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 y="0"/>
                        <a:ext cx="211667" cy="158750"/>
                      </a:xfrm>
                      <a:prstGeom prst="rect">
                        <a:avLst/>
                      </a:prstGeom>
                    </p:spPr>
                  </p:pic>
                </p:oleObj>
              </mc:Fallback>
            </mc:AlternateContent>
          </a:graphicData>
        </a:graphic>
      </p:graphicFrame>
      <p:sp>
        <p:nvSpPr>
          <p:cNvPr id="6" name="Slide Number Placeholder 5"/>
          <p:cNvSpPr>
            <a:spLocks noGrp="1"/>
          </p:cNvSpPr>
          <p:nvPr>
            <p:ph type="sldNum" sz="quarter" idx="12"/>
          </p:nvPr>
        </p:nvSpPr>
        <p:spPr>
          <a:xfrm>
            <a:off x="364067" y="6440973"/>
            <a:ext cx="1658112" cy="327025"/>
          </a:xfrm>
          <a:prstGeom prst="rect">
            <a:avLst/>
          </a:prstGeom>
        </p:spPr>
        <p:txBody>
          <a:bodyPr/>
          <a:lstStyle>
            <a:lvl1pPr>
              <a:defRPr>
                <a:solidFill>
                  <a:schemeClr val="tx1">
                    <a:lumMod val="75000"/>
                    <a:lumOff val="25000"/>
                  </a:schemeClr>
                </a:solidFill>
              </a:defRPr>
            </a:lvl1pPr>
          </a:lstStyle>
          <a:p>
            <a:fld id="{E87A42FE-0C59-4FAA-A8EB-2E8F5B7E6FB2}" type="slidenum">
              <a:rPr lang="en-US" smtClean="0">
                <a:ln>
                  <a:solidFill>
                    <a:srgbClr val="FFFFFF">
                      <a:alpha val="0"/>
                    </a:srgbClr>
                  </a:solidFill>
                </a:ln>
                <a:solidFill>
                  <a:srgbClr val="000000">
                    <a:lumMod val="75000"/>
                    <a:lumOff val="25000"/>
                  </a:srgbClr>
                </a:solidFill>
              </a:rPr>
              <a:pPr/>
              <a:t>‹#›</a:t>
            </a:fld>
            <a:endParaRPr lang="en-US">
              <a:ln>
                <a:solidFill>
                  <a:srgbClr val="FFFFFF">
                    <a:alpha val="0"/>
                  </a:srgbClr>
                </a:solidFill>
              </a:ln>
              <a:solidFill>
                <a:srgbClr val="000000">
                  <a:lumMod val="75000"/>
                  <a:lumOff val="25000"/>
                </a:srgbClr>
              </a:solidFill>
            </a:endParaRPr>
          </a:p>
        </p:txBody>
      </p:sp>
      <p:sp>
        <p:nvSpPr>
          <p:cNvPr id="3" name="Title 2"/>
          <p:cNvSpPr>
            <a:spLocks noGrp="1"/>
          </p:cNvSpPr>
          <p:nvPr>
            <p:ph type="title"/>
          </p:nvPr>
        </p:nvSpPr>
        <p:spPr/>
        <p:txBody>
          <a:bodyPr/>
          <a:lstStyle/>
          <a:p>
            <a:r>
              <a:rPr lang="es-ES"/>
              <a:t>Haga clic para modificar el estilo de título del patrón</a:t>
            </a:r>
            <a:endParaRPr lang="en-US"/>
          </a:p>
        </p:txBody>
      </p:sp>
      <p:sp>
        <p:nvSpPr>
          <p:cNvPr id="8" name="Text Placeholder 7"/>
          <p:cNvSpPr>
            <a:spLocks noGrp="1"/>
          </p:cNvSpPr>
          <p:nvPr>
            <p:ph type="body" sz="quarter" idx="13"/>
          </p:nvPr>
        </p:nvSpPr>
        <p:spPr>
          <a:xfrm>
            <a:off x="519248" y="976497"/>
            <a:ext cx="11151917" cy="500866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22945579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403514" cy="747897"/>
          </a:xfrm>
        </p:spPr>
        <p:txBody>
          <a:bodyPr/>
          <a:lstStyle/>
          <a:p>
            <a:r>
              <a:rPr lang="es-ES"/>
              <a:t>Haga clic para modificar el estilo de título del patrón</a:t>
            </a:r>
            <a:endParaRPr lang="en-US"/>
          </a:p>
        </p:txBody>
      </p:sp>
      <p:sp>
        <p:nvSpPr>
          <p:cNvPr id="6" name="Text Placeholder 5"/>
          <p:cNvSpPr>
            <a:spLocks noGrp="1"/>
          </p:cNvSpPr>
          <p:nvPr>
            <p:ph type="body" sz="quarter" idx="10"/>
          </p:nvPr>
        </p:nvSpPr>
        <p:spPr>
          <a:xfrm>
            <a:off x="519248" y="976497"/>
            <a:ext cx="11403514" cy="5033605"/>
          </a:xfrm>
        </p:spPr>
        <p:txBody>
          <a:bodyPr/>
          <a:lstStyle>
            <a:lvl1pPr marL="0" indent="0">
              <a:buNone/>
              <a:defRPr b="0" i="0">
                <a:solidFill>
                  <a:srgbClr val="797A7D"/>
                </a:solidFill>
                <a:latin typeface="+mj-lt"/>
              </a:defRPr>
            </a:lvl1pPr>
            <a:lvl2pPr marL="0" indent="0">
              <a:buFontTx/>
              <a:buNone/>
              <a:defRPr sz="1960" b="0" i="0">
                <a:latin typeface="+mj-lt"/>
              </a:defRPr>
            </a:lvl2pPr>
            <a:lvl3pPr marL="224008" indent="0">
              <a:buNone/>
              <a:defRPr b="0" i="0">
                <a:latin typeface="+mj-lt"/>
              </a:defRPr>
            </a:lvl3pPr>
            <a:lvl4pPr marL="448016" indent="0">
              <a:buNone/>
              <a:defRPr b="0" i="0">
                <a:latin typeface="+mj-lt"/>
              </a:defRPr>
            </a:lvl4pPr>
            <a:lvl5pPr marL="672024" indent="0">
              <a:buNone/>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Box 7"/>
          <p:cNvSpPr txBox="1"/>
          <p:nvPr userDrawn="1"/>
        </p:nvSpPr>
        <p:spPr bwMode="white">
          <a:xfrm>
            <a:off x="4244629" y="6567021"/>
            <a:ext cx="370274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727800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Title &amp; Non-bulleted text No Logo">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403514" cy="747897"/>
          </a:xfrm>
        </p:spPr>
        <p:txBody>
          <a:bodyPr/>
          <a:lstStyle/>
          <a:p>
            <a:r>
              <a:rPr lang="es-ES"/>
              <a:t>Haga clic para modificar el estilo de título del patrón</a:t>
            </a:r>
            <a:endParaRPr lang="en-US"/>
          </a:p>
        </p:txBody>
      </p:sp>
      <p:sp>
        <p:nvSpPr>
          <p:cNvPr id="6" name="Text Placeholder 5"/>
          <p:cNvSpPr>
            <a:spLocks noGrp="1"/>
          </p:cNvSpPr>
          <p:nvPr>
            <p:ph type="body" sz="quarter" idx="10"/>
          </p:nvPr>
        </p:nvSpPr>
        <p:spPr>
          <a:xfrm>
            <a:off x="519248" y="976497"/>
            <a:ext cx="11403514" cy="5033605"/>
          </a:xfrm>
        </p:spPr>
        <p:txBody>
          <a:bodyPr/>
          <a:lstStyle>
            <a:lvl1pPr marL="0" indent="0">
              <a:buNone/>
              <a:defRPr b="0" i="0">
                <a:solidFill>
                  <a:srgbClr val="797A7D"/>
                </a:solidFill>
                <a:latin typeface="+mj-lt"/>
              </a:defRPr>
            </a:lvl1pPr>
            <a:lvl2pPr marL="0" indent="0">
              <a:buFontTx/>
              <a:buNone/>
              <a:defRPr sz="1960" b="0" i="0">
                <a:latin typeface="+mj-lt"/>
              </a:defRPr>
            </a:lvl2pPr>
            <a:lvl3pPr marL="224008" indent="0">
              <a:buNone/>
              <a:defRPr b="0" i="0">
                <a:latin typeface="+mj-lt"/>
              </a:defRPr>
            </a:lvl3pPr>
            <a:lvl4pPr marL="448016" indent="0">
              <a:buNone/>
              <a:defRPr b="0" i="0">
                <a:latin typeface="+mj-lt"/>
              </a:defRPr>
            </a:lvl4pPr>
            <a:lvl5pPr marL="672024" indent="0">
              <a:buNone/>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Box 7"/>
          <p:cNvSpPr txBox="1"/>
          <p:nvPr userDrawn="1"/>
        </p:nvSpPr>
        <p:spPr bwMode="white">
          <a:xfrm>
            <a:off x="4244629" y="6567021"/>
            <a:ext cx="370274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8297273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6_Blank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87733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40932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7_End Slide E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9754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8_End Slide Esp">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081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51" y="3425828"/>
            <a:ext cx="10240453" cy="498599"/>
          </a:xfrm>
        </p:spPr>
        <p:txBody>
          <a:bodyPr>
            <a:noAutofit/>
          </a:bodyPr>
          <a:lstStyle>
            <a:lvl1pPr marL="0" indent="0">
              <a:spcBef>
                <a:spcPts val="0"/>
              </a:spcBef>
              <a:buNone/>
              <a:defRPr b="0" i="0" spc="-71" baseline="0">
                <a:gradFill>
                  <a:gsLst>
                    <a:gs pos="0">
                      <a:schemeClr val="bg1"/>
                    </a:gs>
                    <a:gs pos="100000">
                      <a:schemeClr val="bg1"/>
                    </a:gs>
                  </a:gsLst>
                  <a:lin ang="5400000" scaled="0"/>
                </a:gradFill>
                <a:latin typeface="+mn-lt"/>
                <a:cs typeface="Segoe Pro Display Light"/>
              </a:defRPr>
            </a:lvl1pPr>
          </a:lstStyle>
          <a:p>
            <a:pPr lvl="0"/>
            <a:r>
              <a:rPr lang="en-US"/>
              <a:t>Speaker Title</a:t>
            </a:r>
          </a:p>
        </p:txBody>
      </p:sp>
    </p:spTree>
    <p:extLst>
      <p:ext uri="{BB962C8B-B14F-4D97-AF65-F5344CB8AC3E}">
        <p14:creationId xmlns:p14="http://schemas.microsoft.com/office/powerpoint/2010/main" val="2729723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ext</a:t>
            </a:r>
            <a:endParaRPr lang="es-ES"/>
          </a:p>
        </p:txBody>
      </p:sp>
    </p:spTree>
    <p:extLst>
      <p:ext uri="{BB962C8B-B14F-4D97-AF65-F5344CB8AC3E}">
        <p14:creationId xmlns:p14="http://schemas.microsoft.com/office/powerpoint/2010/main" val="6601934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F6329-C69B-4463-89DF-D88A7186DD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47BDA8-1E90-43EA-A49E-A1278F89F82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1010F-C992-475F-A0E6-831455355784}"/>
              </a:ext>
            </a:extLst>
          </p:cNvPr>
          <p:cNvSpPr>
            <a:spLocks noGrp="1"/>
          </p:cNvSpPr>
          <p:nvPr>
            <p:ph type="dt" sz="half" idx="10"/>
          </p:nvPr>
        </p:nvSpPr>
        <p:spPr/>
        <p:txBody>
          <a:bodyPr/>
          <a:lstStyle/>
          <a:p>
            <a:fld id="{A4832391-8C29-4729-8E3D-4C9FC526145C}" type="datetimeFigureOut">
              <a:rPr lang="en-US" smtClean="0"/>
              <a:t>11/28/2018</a:t>
            </a:fld>
            <a:endParaRPr lang="en-US"/>
          </a:p>
        </p:txBody>
      </p:sp>
      <p:sp>
        <p:nvSpPr>
          <p:cNvPr id="5" name="Footer Placeholder 4">
            <a:extLst>
              <a:ext uri="{FF2B5EF4-FFF2-40B4-BE49-F238E27FC236}">
                <a16:creationId xmlns:a16="http://schemas.microsoft.com/office/drawing/2014/main" id="{2F06D552-0F85-4852-8D3D-D374DDF1D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8D377A-6040-45E4-BD32-FDCBED773A73}"/>
              </a:ext>
            </a:extLst>
          </p:cNvPr>
          <p:cNvSpPr>
            <a:spLocks noGrp="1"/>
          </p:cNvSpPr>
          <p:nvPr>
            <p:ph type="sldNum" sz="quarter" idx="12"/>
          </p:nvPr>
        </p:nvSpPr>
        <p:spPr/>
        <p:txBody>
          <a:bodyPr/>
          <a:lstStyle/>
          <a:p>
            <a:fld id="{A5C0BA36-BBFE-4070-80DE-46D573446C49}" type="slidenum">
              <a:rPr lang="en-US" smtClean="0"/>
              <a:t>‹#›</a:t>
            </a:fld>
            <a:endParaRPr lang="en-US"/>
          </a:p>
        </p:txBody>
      </p:sp>
    </p:spTree>
    <p:extLst>
      <p:ext uri="{BB962C8B-B14F-4D97-AF65-F5344CB8AC3E}">
        <p14:creationId xmlns:p14="http://schemas.microsoft.com/office/powerpoint/2010/main" val="20892755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urple">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BACD64E-7B30-4BDF-ABF7-F803B1083F61}"/>
              </a:ext>
            </a:extLst>
          </p:cNvPr>
          <p:cNvGrpSpPr/>
          <p:nvPr userDrawn="1"/>
        </p:nvGrpSpPr>
        <p:grpSpPr>
          <a:xfrm>
            <a:off x="8748345" y="5922334"/>
            <a:ext cx="3378393" cy="899665"/>
            <a:chOff x="8748345" y="5922334"/>
            <a:chExt cx="3378393" cy="899665"/>
          </a:xfrm>
        </p:grpSpPr>
        <p:pic>
          <p:nvPicPr>
            <p:cNvPr id="3" name="Graphic 2">
              <a:extLst>
                <a:ext uri="{FF2B5EF4-FFF2-40B4-BE49-F238E27FC236}">
                  <a16:creationId xmlns:a16="http://schemas.microsoft.com/office/drawing/2014/main" id="{95DFAE61-01F8-4FDA-AD83-AEB7CFE0EA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4" name="Graphic 3">
              <a:extLst>
                <a:ext uri="{FF2B5EF4-FFF2-40B4-BE49-F238E27FC236}">
                  <a16:creationId xmlns:a16="http://schemas.microsoft.com/office/drawing/2014/main" id="{9DC82A8E-25BA-42E9-A135-BF4F0C9994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1926334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509182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23133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4729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08188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621504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49515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133850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459993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1779020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456926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92C0DE0-809E-480D-A302-52199EA4E01D}"/>
              </a:ext>
            </a:extLst>
          </p:cNvPr>
          <p:cNvGrpSpPr/>
          <p:nvPr userDrawn="1"/>
        </p:nvGrpSpPr>
        <p:grpSpPr>
          <a:xfrm>
            <a:off x="8748345" y="5922334"/>
            <a:ext cx="3378393" cy="899665"/>
            <a:chOff x="8748345" y="5922334"/>
            <a:chExt cx="3378393" cy="899665"/>
          </a:xfrm>
        </p:grpSpPr>
        <p:pic>
          <p:nvPicPr>
            <p:cNvPr id="3" name="Graphic 2">
              <a:extLst>
                <a:ext uri="{FF2B5EF4-FFF2-40B4-BE49-F238E27FC236}">
                  <a16:creationId xmlns:a16="http://schemas.microsoft.com/office/drawing/2014/main" id="{8F8F7AFC-92D9-46BF-8A25-AD8402D00C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4" name="Graphic 3">
              <a:extLst>
                <a:ext uri="{FF2B5EF4-FFF2-40B4-BE49-F238E27FC236}">
                  <a16:creationId xmlns:a16="http://schemas.microsoft.com/office/drawing/2014/main" id="{0C0E3486-C341-499D-90C0-6A68CEE94F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57041002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27414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189491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0046265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879287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6315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4204949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12122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035855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7632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8088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53156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9040619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15818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3644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80704414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999376"/>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11" name="Picture 10">
            <a:extLst>
              <a:ext uri="{FF2B5EF4-FFF2-40B4-BE49-F238E27FC236}">
                <a16:creationId xmlns:a16="http://schemas.microsoft.com/office/drawing/2014/main" id="{BF2BF31F-71DA-5349-8862-E5FB33298027}"/>
              </a:ext>
            </a:extLst>
          </p:cNvPr>
          <p:cNvPicPr>
            <a:picLocks noChangeAspect="1"/>
          </p:cNvPicPr>
          <p:nvPr userDrawn="1"/>
        </p:nvPicPr>
        <p:blipFill>
          <a:blip r:embed="rId3"/>
          <a:stretch>
            <a:fillRect/>
          </a:stretch>
        </p:blipFill>
        <p:spPr>
          <a:xfrm>
            <a:off x="7631212" y="1856348"/>
            <a:ext cx="4393933" cy="4393933"/>
          </a:xfrm>
          <a:prstGeom prst="rect">
            <a:avLst/>
          </a:prstGeom>
        </p:spPr>
      </p:pic>
      <p:grpSp>
        <p:nvGrpSpPr>
          <p:cNvPr id="13" name="Group 12">
            <a:extLst>
              <a:ext uri="{FF2B5EF4-FFF2-40B4-BE49-F238E27FC236}">
                <a16:creationId xmlns:a16="http://schemas.microsoft.com/office/drawing/2014/main" id="{362CCE4C-0EA9-3740-B119-53C2EEE60073}"/>
              </a:ext>
            </a:extLst>
          </p:cNvPr>
          <p:cNvGrpSpPr/>
          <p:nvPr userDrawn="1"/>
        </p:nvGrpSpPr>
        <p:grpSpPr>
          <a:xfrm>
            <a:off x="-344470" y="6364819"/>
            <a:ext cx="12470875" cy="417395"/>
            <a:chOff x="-344470" y="6364819"/>
            <a:chExt cx="12470875" cy="417395"/>
          </a:xfrm>
        </p:grpSpPr>
        <p:grpSp>
          <p:nvGrpSpPr>
            <p:cNvPr id="14" name="Group 13">
              <a:extLst>
                <a:ext uri="{FF2B5EF4-FFF2-40B4-BE49-F238E27FC236}">
                  <a16:creationId xmlns:a16="http://schemas.microsoft.com/office/drawing/2014/main" id="{DA28F79D-9AF4-A040-B0AA-E0E70765EFD8}"/>
                </a:ext>
              </a:extLst>
            </p:cNvPr>
            <p:cNvGrpSpPr/>
            <p:nvPr userDrawn="1"/>
          </p:nvGrpSpPr>
          <p:grpSpPr>
            <a:xfrm>
              <a:off x="-344470" y="6364819"/>
              <a:ext cx="2740450" cy="369778"/>
              <a:chOff x="8415483" y="6310422"/>
              <a:chExt cx="2795402" cy="377139"/>
            </a:xfrm>
          </p:grpSpPr>
          <p:pic>
            <p:nvPicPr>
              <p:cNvPr id="16" name="Picture 15">
                <a:extLst>
                  <a:ext uri="{FF2B5EF4-FFF2-40B4-BE49-F238E27FC236}">
                    <a16:creationId xmlns:a16="http://schemas.microsoft.com/office/drawing/2014/main" id="{DCCD3879-9AB1-144A-9A80-69D3F80F50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17" name="TextBox 16">
                <a:extLst>
                  <a:ext uri="{FF2B5EF4-FFF2-40B4-BE49-F238E27FC236}">
                    <a16:creationId xmlns:a16="http://schemas.microsoft.com/office/drawing/2014/main" id="{024E614D-113C-204D-973E-148E33B1105B}"/>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5A7F2C3-C22F-E84E-AB8A-5AEA391CF3B1}"/>
                </a:ext>
              </a:extLst>
            </p:cNvPr>
            <p:cNvSpPr/>
            <p:nvPr userDrawn="1"/>
          </p:nvSpPr>
          <p:spPr>
            <a:xfrm>
              <a:off x="7529954" y="6423654"/>
              <a:ext cx="4596451" cy="3585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4168811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Grey">
    <p:bg>
      <p:bgPr>
        <a:solidFill>
          <a:srgbClr val="35353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1BA02E4-C5C0-1D47-8385-50DBE43FDDBC}"/>
              </a:ext>
            </a:extLst>
          </p:cNvPr>
          <p:cNvGrpSpPr/>
          <p:nvPr userDrawn="1"/>
        </p:nvGrpSpPr>
        <p:grpSpPr>
          <a:xfrm>
            <a:off x="-344470" y="6364819"/>
            <a:ext cx="12460616" cy="412778"/>
            <a:chOff x="-344470" y="6364819"/>
            <a:chExt cx="12460616" cy="412778"/>
          </a:xfrm>
        </p:grpSpPr>
        <p:grpSp>
          <p:nvGrpSpPr>
            <p:cNvPr id="3" name="Group 2">
              <a:extLst>
                <a:ext uri="{FF2B5EF4-FFF2-40B4-BE49-F238E27FC236}">
                  <a16:creationId xmlns:a16="http://schemas.microsoft.com/office/drawing/2014/main" id="{45F2D75A-28E5-6F4C-BD7D-806B97A105D3}"/>
                </a:ext>
              </a:extLst>
            </p:cNvPr>
            <p:cNvGrpSpPr/>
            <p:nvPr userDrawn="1"/>
          </p:nvGrpSpPr>
          <p:grpSpPr>
            <a:xfrm>
              <a:off x="-344470" y="6364819"/>
              <a:ext cx="2740450" cy="369778"/>
              <a:chOff x="8415483" y="6310422"/>
              <a:chExt cx="2795402" cy="377139"/>
            </a:xfrm>
          </p:grpSpPr>
          <p:pic>
            <p:nvPicPr>
              <p:cNvPr id="5" name="Picture 4">
                <a:extLst>
                  <a:ext uri="{FF2B5EF4-FFF2-40B4-BE49-F238E27FC236}">
                    <a16:creationId xmlns:a16="http://schemas.microsoft.com/office/drawing/2014/main" id="{01FFA6CD-FE04-8A40-9EBA-9D87CFB44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6" name="TextBox 5">
                <a:extLst>
                  <a:ext uri="{FF2B5EF4-FFF2-40B4-BE49-F238E27FC236}">
                    <a16:creationId xmlns:a16="http://schemas.microsoft.com/office/drawing/2014/main" id="{1C700F4F-8F36-6D45-B3E6-4E6434848A2C}"/>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 name="Rectangle 3">
              <a:extLst>
                <a:ext uri="{FF2B5EF4-FFF2-40B4-BE49-F238E27FC236}">
                  <a16:creationId xmlns:a16="http://schemas.microsoft.com/office/drawing/2014/main" id="{246BD103-FE0D-CB40-9BEA-A33135173F6E}"/>
                </a:ext>
              </a:extLst>
            </p:cNvPr>
            <p:cNvSpPr/>
            <p:nvPr userDrawn="1"/>
          </p:nvSpPr>
          <p:spPr>
            <a:xfrm>
              <a:off x="7529954" y="6423654"/>
              <a:ext cx="4586192" cy="35394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18514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90804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1" y="289514"/>
            <a:ext cx="11658380" cy="738536"/>
          </a:xfrm>
          <a:noFill/>
        </p:spPr>
        <p:txBody>
          <a:bodyPr/>
          <a:lstStyle>
            <a:lvl1pPr>
              <a:defRPr sz="4799">
                <a:gradFill>
                  <a:gsLst>
                    <a:gs pos="1250">
                      <a:srgbClr val="FFFFFF"/>
                    </a:gs>
                    <a:gs pos="100000">
                      <a:srgbClr val="FFFFFF"/>
                    </a:gs>
                  </a:gsLst>
                  <a:lin ang="5400000" scaled="0"/>
                </a:gradFill>
              </a:defRPr>
            </a:lvl1pPr>
          </a:lstStyle>
          <a:p>
            <a:r>
              <a:rPr lang="en-US"/>
              <a:t>Click to edit Master title style</a:t>
            </a:r>
          </a:p>
        </p:txBody>
      </p:sp>
      <p:grpSp>
        <p:nvGrpSpPr>
          <p:cNvPr id="13" name="Group 12">
            <a:extLst>
              <a:ext uri="{FF2B5EF4-FFF2-40B4-BE49-F238E27FC236}">
                <a16:creationId xmlns:a16="http://schemas.microsoft.com/office/drawing/2014/main" id="{B9812ADC-A40C-4744-BBEA-66B787D0514B}"/>
              </a:ext>
            </a:extLst>
          </p:cNvPr>
          <p:cNvGrpSpPr/>
          <p:nvPr userDrawn="1"/>
        </p:nvGrpSpPr>
        <p:grpSpPr>
          <a:xfrm>
            <a:off x="-344470" y="6364819"/>
            <a:ext cx="12470875" cy="417395"/>
            <a:chOff x="-344470" y="6364819"/>
            <a:chExt cx="12470875" cy="417395"/>
          </a:xfrm>
        </p:grpSpPr>
        <p:grpSp>
          <p:nvGrpSpPr>
            <p:cNvPr id="14" name="Group 13">
              <a:extLst>
                <a:ext uri="{FF2B5EF4-FFF2-40B4-BE49-F238E27FC236}">
                  <a16:creationId xmlns:a16="http://schemas.microsoft.com/office/drawing/2014/main" id="{9E2437D4-3CD4-A142-9D23-4C242A0CF1BC}"/>
                </a:ext>
              </a:extLst>
            </p:cNvPr>
            <p:cNvGrpSpPr/>
            <p:nvPr userDrawn="1"/>
          </p:nvGrpSpPr>
          <p:grpSpPr>
            <a:xfrm>
              <a:off x="-344470" y="6364819"/>
              <a:ext cx="2740450" cy="369778"/>
              <a:chOff x="8415483" y="6310422"/>
              <a:chExt cx="2795402" cy="377139"/>
            </a:xfrm>
          </p:grpSpPr>
          <p:pic>
            <p:nvPicPr>
              <p:cNvPr id="16" name="Picture 15">
                <a:extLst>
                  <a:ext uri="{FF2B5EF4-FFF2-40B4-BE49-F238E27FC236}">
                    <a16:creationId xmlns:a16="http://schemas.microsoft.com/office/drawing/2014/main" id="{C65E5529-5695-3A46-B270-AF593B0D7B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17" name="TextBox 16">
                <a:extLst>
                  <a:ext uri="{FF2B5EF4-FFF2-40B4-BE49-F238E27FC236}">
                    <a16:creationId xmlns:a16="http://schemas.microsoft.com/office/drawing/2014/main" id="{6D4968D9-0DE7-D848-896E-293273B97EEB}"/>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04D4CBD3-51DC-5346-844F-9480931C9621}"/>
                </a:ext>
              </a:extLst>
            </p:cNvPr>
            <p:cNvSpPr/>
            <p:nvPr userDrawn="1"/>
          </p:nvSpPr>
          <p:spPr>
            <a:xfrm>
              <a:off x="7529954" y="6423654"/>
              <a:ext cx="4596451" cy="3585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335587957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049210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1816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3031339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024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577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2521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234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056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280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3633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3802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537564" y="289511"/>
            <a:ext cx="1549661" cy="599963"/>
            <a:chOff x="10080208" y="241982"/>
            <a:chExt cx="1549661" cy="599963"/>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87657"/>
              <a:chOff x="10110866" y="391883"/>
              <a:chExt cx="1324131" cy="587657"/>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January 9,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993324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933239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81730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4089155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639168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926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7443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11182862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56415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3408069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0934845"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3899112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56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276024" cy="6858000"/>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89367" y="197340"/>
            <a:ext cx="3243722" cy="1178231"/>
          </a:xfrm>
          <a:prstGeom prst="rect">
            <a:avLst/>
          </a:prstGeom>
        </p:spPr>
        <p:txBody>
          <a:bodyPr vert="horz" wrap="square" lIns="143428" tIns="89642" rIns="143428" bIns="89642"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Azure </a:t>
            </a:r>
            <a:b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b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products</a:t>
            </a:r>
          </a:p>
        </p:txBody>
      </p:sp>
      <p:sp>
        <p:nvSpPr>
          <p:cNvPr id="6" name="Rectangle 5">
            <a:hlinkClick r:id="" action="ppaction://noaction"/>
            <a:extLst>
              <a:ext uri="{FF2B5EF4-FFF2-40B4-BE49-F238E27FC236}">
                <a16:creationId xmlns:a16="http://schemas.microsoft.com/office/drawing/2014/main" id="{6A4E1D06-E0C0-4BDB-BF0D-6CD6007A455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8468566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5191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3408962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3171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1799361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58278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0944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325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271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28329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94077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23513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1">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79FFEB9-2BE6-4DB6-8DCA-DBA500633B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9E39216E-F59B-4BC9-B7CE-10A9447E20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0" y="0"/>
            <a:ext cx="12169140" cy="6858000"/>
          </a:xfrm>
          <a:prstGeom prst="rect">
            <a:avLst/>
          </a:prstGeom>
        </p:spPr>
      </p:pic>
      <p:sp>
        <p:nvSpPr>
          <p:cNvPr id="18" name="Rectangle 17">
            <a:extLst>
              <a:ext uri="{FF2B5EF4-FFF2-40B4-BE49-F238E27FC236}">
                <a16:creationId xmlns:a16="http://schemas.microsoft.com/office/drawing/2014/main" id="{00414B93-1C7A-463B-94D3-C75120E48B38}"/>
              </a:ext>
            </a:extLst>
          </p:cNvPr>
          <p:cNvSpPr/>
          <p:nvPr userDrawn="1"/>
        </p:nvSpPr>
        <p:spPr bwMode="auto">
          <a:xfrm>
            <a:off x="11430" y="1758462"/>
            <a:ext cx="12192000" cy="34465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7" name="Graphic 6">
            <a:extLst>
              <a:ext uri="{FF2B5EF4-FFF2-40B4-BE49-F238E27FC236}">
                <a16:creationId xmlns:a16="http://schemas.microsoft.com/office/drawing/2014/main" id="{0EDE7E98-2515-4CF5-A7F5-85F9915B5A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949183" y="3714094"/>
            <a:ext cx="2168764" cy="2317429"/>
          </a:xfrm>
          <a:prstGeom prst="rect">
            <a:avLst/>
          </a:prstGeom>
        </p:spPr>
      </p:pic>
      <p:sp>
        <p:nvSpPr>
          <p:cNvPr id="13" name="Title 1"/>
          <p:cNvSpPr>
            <a:spLocks noGrp="1"/>
          </p:cNvSpPr>
          <p:nvPr>
            <p:ph type="title" hasCustomPrompt="1"/>
          </p:nvPr>
        </p:nvSpPr>
        <p:spPr>
          <a:xfrm>
            <a:off x="543146" y="1925787"/>
            <a:ext cx="11062699"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6" y="3821145"/>
            <a:ext cx="9860611" cy="116586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5" name="Graphic 14">
            <a:extLst>
              <a:ext uri="{FF2B5EF4-FFF2-40B4-BE49-F238E27FC236}">
                <a16:creationId xmlns:a16="http://schemas.microsoft.com/office/drawing/2014/main" id="{7419D4D3-1264-4226-98C4-F3F8AF090AD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858000" y="5497520"/>
            <a:ext cx="3213197" cy="389672"/>
          </a:xfrm>
          <a:prstGeom prst="rect">
            <a:avLst/>
          </a:prstGeom>
        </p:spPr>
      </p:pic>
    </p:spTree>
    <p:extLst>
      <p:ext uri="{BB962C8B-B14F-4D97-AF65-F5344CB8AC3E}">
        <p14:creationId xmlns:p14="http://schemas.microsoft.com/office/powerpoint/2010/main" val="2853996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622982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endParaRPr lang="en-US">
              <a:solidFill>
                <a:srgbClr val="505050"/>
              </a:solidFill>
            </a:endParaRPr>
          </a:p>
        </p:txBody>
      </p:sp>
    </p:spTree>
    <p:extLst>
      <p:ext uri="{BB962C8B-B14F-4D97-AF65-F5344CB8AC3E}">
        <p14:creationId xmlns:p14="http://schemas.microsoft.com/office/powerpoint/2010/main" val="172800684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903926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44457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253243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793494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049737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446367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1540571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971528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002520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2180556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grpSp>
        <p:nvGrpSpPr>
          <p:cNvPr id="2" name="Group 1">
            <a:extLst>
              <a:ext uri="{FF2B5EF4-FFF2-40B4-BE49-F238E27FC236}">
                <a16:creationId xmlns:a16="http://schemas.microsoft.com/office/drawing/2014/main" id="{25026E39-F3F6-4370-872F-DB51A116C464}"/>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373B7F5B-B5C7-4AE8-962E-C131CC184B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7" name="Graphic 6">
              <a:extLst>
                <a:ext uri="{FF2B5EF4-FFF2-40B4-BE49-F238E27FC236}">
                  <a16:creationId xmlns:a16="http://schemas.microsoft.com/office/drawing/2014/main" id="{0B0B979A-F2FE-4510-B2F2-A29CF887A5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392660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78823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57232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472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08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31040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8810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50343192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22662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4491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152450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3F8A6C2C-5B06-40D9-A918-8F0304E8B4DB}"/>
              </a:ext>
            </a:extLst>
          </p:cNvPr>
          <p:cNvGrpSpPr/>
          <p:nvPr userDrawn="1"/>
        </p:nvGrpSpPr>
        <p:grpSpPr>
          <a:xfrm>
            <a:off x="8748345" y="5922334"/>
            <a:ext cx="3378393" cy="899665"/>
            <a:chOff x="8748345" y="5922334"/>
            <a:chExt cx="3378393" cy="899665"/>
          </a:xfrm>
        </p:grpSpPr>
        <p:pic>
          <p:nvPicPr>
            <p:cNvPr id="7" name="Graphic 6">
              <a:extLst>
                <a:ext uri="{FF2B5EF4-FFF2-40B4-BE49-F238E27FC236}">
                  <a16:creationId xmlns:a16="http://schemas.microsoft.com/office/drawing/2014/main" id="{FB5C1E37-7655-4446-9EBC-E01AE514F3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8" name="Graphic 7">
              <a:extLst>
                <a:ext uri="{FF2B5EF4-FFF2-40B4-BE49-F238E27FC236}">
                  <a16:creationId xmlns:a16="http://schemas.microsoft.com/office/drawing/2014/main" id="{2F54BCBA-F990-40A0-A9AC-91C9518E84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1837097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0157B-C3AF-4CAE-9371-8C5E266AB7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90C527-7AB1-4751-BB10-908BDF563B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5FC743-E694-405E-8FF8-91F477F704D8}"/>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9DEC2544-0AE0-4DD7-B882-6CC596D4F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189D43-5B65-40F9-B98D-8B41B7B4EB5E}"/>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221094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F7BFE-DB45-40FC-8976-B7E77B1C69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D23C73-8DAA-4705-9AD2-440741D00B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FFF052-5FF2-42EB-A0E3-321ACAA723DA}"/>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A7285295-CFB6-48EE-A9B9-2CA107A350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A46556-4474-4BDC-8022-61D1EB877A31}"/>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4227614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046B8-76A7-4BB3-910A-4EC8326672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FD7E56-FA8A-4029-B7A4-FF8D11C0DE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2180837-5E86-4710-88ED-629B6127A8C1}"/>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B0E26483-15E0-4626-B9CA-5B5078524F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52AE1E-2358-4B91-95DF-08D072C77E5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29925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13E38-D8AC-458F-ACA6-C8A0DF4CEA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78D025-AC33-4A55-B051-E401A58CFC9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FA0A31-7760-402A-B0AF-F0CFA60046C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52D19B-3D75-4190-B3E6-FB2D44A62F86}"/>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6" name="Footer Placeholder 5">
            <a:extLst>
              <a:ext uri="{FF2B5EF4-FFF2-40B4-BE49-F238E27FC236}">
                <a16:creationId xmlns:a16="http://schemas.microsoft.com/office/drawing/2014/main" id="{09AF5B4F-B0CC-4351-A62B-1DFB726CD9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8DB4C3-5E51-444B-8302-CF835724779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9074099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B0A59-8E58-4DB8-961B-51D4C8635D3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225DFB-637A-497D-9B88-47C9F4AFF08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43629F0-6611-41C5-8090-9D1864E3370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2A871A-951C-484A-8A33-F05804B92C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B5B984-4B8A-4D20-A6F1-A3500833DA4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BEE753-4CB7-4046-80E4-EBF5057B3622}"/>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8" name="Footer Placeholder 7">
            <a:extLst>
              <a:ext uri="{FF2B5EF4-FFF2-40B4-BE49-F238E27FC236}">
                <a16:creationId xmlns:a16="http://schemas.microsoft.com/office/drawing/2014/main" id="{0CCACDB1-7214-41C1-812F-E3FFCC42E7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0E9799-1424-4736-8F52-CFB31E8354E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3568361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F1BD-042E-4407-9A48-C31D84329C9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072507-5953-4552-955D-94C93294BF2F}"/>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4" name="Footer Placeholder 3">
            <a:extLst>
              <a:ext uri="{FF2B5EF4-FFF2-40B4-BE49-F238E27FC236}">
                <a16:creationId xmlns:a16="http://schemas.microsoft.com/office/drawing/2014/main" id="{F0B84771-F90C-44D8-B561-018AAB15D6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1D7CFD-5703-4D38-B4D7-6BAC4BC4D51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0717794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5F675-AD9D-4454-A625-A3096DDDA776}"/>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3" name="Footer Placeholder 2">
            <a:extLst>
              <a:ext uri="{FF2B5EF4-FFF2-40B4-BE49-F238E27FC236}">
                <a16:creationId xmlns:a16="http://schemas.microsoft.com/office/drawing/2014/main" id="{4BA3B879-14A3-4F03-BCC0-AE73951109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44DDE9B-09A0-40BA-8E83-253D51C3A05A}"/>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1376601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3E5BA-8116-4F27-9C64-08EA25C666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097562-6A6E-452C-BE28-CA8F5800B5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8BD460-4216-475B-AD32-C3E4A8303E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DF1CBB-8344-44E1-BD16-7D93EECC2ACF}"/>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6" name="Footer Placeholder 5">
            <a:extLst>
              <a:ext uri="{FF2B5EF4-FFF2-40B4-BE49-F238E27FC236}">
                <a16:creationId xmlns:a16="http://schemas.microsoft.com/office/drawing/2014/main" id="{06EBC260-A7A8-4B2B-8856-A297CFA0E6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685DD7-ACB7-4826-9092-9D4ABF6B33EF}"/>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5222753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2356E-C24A-4F1B-8E41-58EDC09F84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24F82B-159D-49BA-A891-322EB7BAD9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40EC56-54A8-40BA-B95C-D5C8AAEBDD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CE5735-EA7E-4388-BE96-A2A7E93253AF}"/>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6" name="Footer Placeholder 5">
            <a:extLst>
              <a:ext uri="{FF2B5EF4-FFF2-40B4-BE49-F238E27FC236}">
                <a16:creationId xmlns:a16="http://schemas.microsoft.com/office/drawing/2014/main" id="{9673E8A2-99E2-4BB9-8A6A-FBC79B2DDE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0DB785-34B5-4943-B2ED-51A7F8E8968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5211479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BF468-05B1-4AB5-A940-02F665C49F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223B92-4064-4BF8-915F-60FB1C5925F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2342C-4708-482A-A5A0-E774951A9C4B}"/>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23C51096-C18C-4A2E-A4D9-67A7158A5D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A47DA-FF04-4395-9D3F-D7E7B1AFF56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949250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2BC7B2AD-8F10-45F8-AFF0-5A1C54B5FBBD}"/>
              </a:ext>
            </a:extLst>
          </p:cNvPr>
          <p:cNvGrpSpPr/>
          <p:nvPr userDrawn="1"/>
        </p:nvGrpSpPr>
        <p:grpSpPr>
          <a:xfrm>
            <a:off x="8748345" y="5922334"/>
            <a:ext cx="3378393" cy="899665"/>
            <a:chOff x="8748345" y="5922334"/>
            <a:chExt cx="3378393" cy="899665"/>
          </a:xfrm>
        </p:grpSpPr>
        <p:pic>
          <p:nvPicPr>
            <p:cNvPr id="4" name="Graphic 3">
              <a:extLst>
                <a:ext uri="{FF2B5EF4-FFF2-40B4-BE49-F238E27FC236}">
                  <a16:creationId xmlns:a16="http://schemas.microsoft.com/office/drawing/2014/main" id="{E1CC39A0-ED90-447F-98FD-02E1C4E501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5" name="Graphic 4">
              <a:extLst>
                <a:ext uri="{FF2B5EF4-FFF2-40B4-BE49-F238E27FC236}">
                  <a16:creationId xmlns:a16="http://schemas.microsoft.com/office/drawing/2014/main" id="{E36217F5-D827-449B-A9FE-684F2E9AE87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708363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7AC7CF-6EBE-495C-8B91-9761A1C7A5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02F745-E8B4-4672-8202-16CAAC1CCF4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F14A34-732A-472B-A7F2-9CCD63FEEEC0}"/>
              </a:ext>
            </a:extLst>
          </p:cNvPr>
          <p:cNvSpPr>
            <a:spLocks noGrp="1"/>
          </p:cNvSpPr>
          <p:nvPr>
            <p:ph type="dt" sz="half" idx="10"/>
          </p:nvPr>
        </p:nvSpPr>
        <p:spPr/>
        <p:txBody>
          <a:body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31E904F6-9CA4-4046-859A-75D3D9044A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4FBB00-8E56-48FD-B3FA-781ED5669B60}"/>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2400240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194464" cy="276999"/>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3016558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3035178"/>
            <a:ext cx="6675120" cy="4985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a:t>
            </a:r>
          </a:p>
        </p:txBody>
      </p:sp>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pic>
        <p:nvPicPr>
          <p:cNvPr id="11" name="Picture 10">
            <a:extLst>
              <a:ext uri="{FF2B5EF4-FFF2-40B4-BE49-F238E27FC236}">
                <a16:creationId xmlns:a16="http://schemas.microsoft.com/office/drawing/2014/main" id="{5E70C700-A182-42C7-B374-5A68650015BA}"/>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71643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332398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318296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1978170"/>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33724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767528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One Column Subhead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10" name="Text Placeholder 2"/>
          <p:cNvSpPr>
            <a:spLocks noGrp="1"/>
          </p:cNvSpPr>
          <p:nvPr>
            <p:ph type="body" idx="11"/>
          </p:nvPr>
        </p:nvSpPr>
        <p:spPr>
          <a:xfrm>
            <a:off x="304799" y="1286338"/>
            <a:ext cx="11582400" cy="554421"/>
          </a:xfrm>
          <a:prstGeom prst="rect">
            <a:avLst/>
          </a:prstGeom>
        </p:spPr>
        <p:txBody>
          <a:bodyPr lIns="0" tIns="0" rIns="0" bIns="0" anchor="ctr"/>
          <a:lstStyle>
            <a:lvl1pPr marL="0" indent="0">
              <a:buNone/>
              <a:defRPr sz="3333" b="0">
                <a:solidFill>
                  <a:schemeClr val="accent1"/>
                </a:solidFill>
                <a:latin typeface="Segoe UI"/>
                <a:cs typeface="Segoe UI"/>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Box 4"/>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7" name="Content Placeholder 2"/>
          <p:cNvSpPr>
            <a:spLocks noGrp="1"/>
          </p:cNvSpPr>
          <p:nvPr>
            <p:ph idx="1" hasCustomPrompt="1"/>
          </p:nvPr>
        </p:nvSpPr>
        <p:spPr>
          <a:xfrm>
            <a:off x="304800" y="1852429"/>
            <a:ext cx="11582400" cy="4220351"/>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4008870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762273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2493807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902853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5E0A57BE-82BA-4DCD-B0B6-AC816A5C5D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l="17176"/>
          <a:stretch/>
        </p:blipFill>
        <p:spPr>
          <a:xfrm>
            <a:off x="0" y="798242"/>
            <a:ext cx="5872872" cy="5096933"/>
          </a:xfrm>
          <a:prstGeom prst="rect">
            <a:avLst/>
          </a:prstGeom>
        </p:spPr>
      </p:pic>
      <p:grpSp>
        <p:nvGrpSpPr>
          <p:cNvPr id="5" name="Group 4">
            <a:extLst>
              <a:ext uri="{FF2B5EF4-FFF2-40B4-BE49-F238E27FC236}">
                <a16:creationId xmlns:a16="http://schemas.microsoft.com/office/drawing/2014/main" id="{90EF4A5C-345F-488C-AC5E-0AF3B8376036}"/>
              </a:ext>
            </a:extLst>
          </p:cNvPr>
          <p:cNvGrpSpPr/>
          <p:nvPr userDrawn="1"/>
        </p:nvGrpSpPr>
        <p:grpSpPr>
          <a:xfrm>
            <a:off x="3019127" y="448578"/>
            <a:ext cx="9646191" cy="6621296"/>
            <a:chOff x="3019127" y="448578"/>
            <a:chExt cx="9646191" cy="6621296"/>
          </a:xfrm>
        </p:grpSpPr>
        <p:pic>
          <p:nvPicPr>
            <p:cNvPr id="7" name="Picture 6">
              <a:extLst>
                <a:ext uri="{FF2B5EF4-FFF2-40B4-BE49-F238E27FC236}">
                  <a16:creationId xmlns:a16="http://schemas.microsoft.com/office/drawing/2014/main" id="{CC8E3C5F-48E2-412C-A5AF-F85384D5EE53}"/>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8" name="TextBox 7">
              <a:extLst>
                <a:ext uri="{FF2B5EF4-FFF2-40B4-BE49-F238E27FC236}">
                  <a16:creationId xmlns:a16="http://schemas.microsoft.com/office/drawing/2014/main" id="{0A9EAD12-9B65-48D0-91A3-85F3DD932746}"/>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dirty="0">
                  <a:solidFill>
                    <a:schemeClr val="tx2">
                      <a:alpha val="49000"/>
                    </a:schemeClr>
                  </a:solidFill>
                </a:rPr>
                <a:t>.NET</a:t>
              </a:r>
            </a:p>
          </p:txBody>
        </p:sp>
      </p:grpSp>
      <p:grpSp>
        <p:nvGrpSpPr>
          <p:cNvPr id="11" name="Group 10">
            <a:extLst>
              <a:ext uri="{FF2B5EF4-FFF2-40B4-BE49-F238E27FC236}">
                <a16:creationId xmlns:a16="http://schemas.microsoft.com/office/drawing/2014/main" id="{1D467257-5022-4D1F-B0B2-9C7A91288EE4}"/>
              </a:ext>
            </a:extLst>
          </p:cNvPr>
          <p:cNvGrpSpPr/>
          <p:nvPr userDrawn="1"/>
        </p:nvGrpSpPr>
        <p:grpSpPr>
          <a:xfrm>
            <a:off x="8748345" y="5922334"/>
            <a:ext cx="3378393" cy="899665"/>
            <a:chOff x="8748345" y="5922334"/>
            <a:chExt cx="3378393" cy="899665"/>
          </a:xfrm>
        </p:grpSpPr>
        <p:pic>
          <p:nvPicPr>
            <p:cNvPr id="12" name="Graphic 11">
              <a:extLst>
                <a:ext uri="{FF2B5EF4-FFF2-40B4-BE49-F238E27FC236}">
                  <a16:creationId xmlns:a16="http://schemas.microsoft.com/office/drawing/2014/main" id="{100EE183-EAAD-43DD-9F1B-6BE5EB5F2F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84787" y="5922334"/>
              <a:ext cx="841951" cy="899665"/>
            </a:xfrm>
            <a:prstGeom prst="rect">
              <a:avLst/>
            </a:prstGeom>
          </p:spPr>
        </p:pic>
        <p:pic>
          <p:nvPicPr>
            <p:cNvPr id="13" name="Graphic 12">
              <a:extLst>
                <a:ext uri="{FF2B5EF4-FFF2-40B4-BE49-F238E27FC236}">
                  <a16:creationId xmlns:a16="http://schemas.microsoft.com/office/drawing/2014/main" id="{61179E32-2390-48A8-BF0B-A73B1A50C2E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319995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422345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522634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84169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671296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573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endParaRPr lang="en-US" dirty="0"/>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35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Click to 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endParaRPr lang="en-US" dirty="0"/>
          </a:p>
        </p:txBody>
      </p:sp>
    </p:spTree>
    <p:extLst>
      <p:ext uri="{BB962C8B-B14F-4D97-AF65-F5344CB8AC3E}">
        <p14:creationId xmlns:p14="http://schemas.microsoft.com/office/powerpoint/2010/main" val="171337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5434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9261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406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dirty="0"/>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dirty="0">
                  <a:solidFill>
                    <a:schemeClr val="tx2">
                      <a:alpha val="49000"/>
                    </a:schemeClr>
                  </a:solidFill>
                </a:rPr>
                <a:t>.NET</a:t>
              </a:r>
            </a:p>
          </p:txBody>
        </p:sp>
      </p:grpSp>
      <p:pic>
        <p:nvPicPr>
          <p:cNvPr id="3" name="Graphic 2">
            <a:extLst>
              <a:ext uri="{FF2B5EF4-FFF2-40B4-BE49-F238E27FC236}">
                <a16:creationId xmlns:a16="http://schemas.microsoft.com/office/drawing/2014/main" id="{01202919-2AB2-4208-B4CC-1AAF68D6BF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30" y="0"/>
            <a:ext cx="12169140" cy="6858000"/>
          </a:xfrm>
          <a:prstGeom prst="rect">
            <a:avLst/>
          </a:prstGeom>
        </p:spPr>
      </p:pic>
      <p:grpSp>
        <p:nvGrpSpPr>
          <p:cNvPr id="10" name="Group 9">
            <a:extLst>
              <a:ext uri="{FF2B5EF4-FFF2-40B4-BE49-F238E27FC236}">
                <a16:creationId xmlns:a16="http://schemas.microsoft.com/office/drawing/2014/main" id="{B9AD06D6-106C-48C4-943A-D2AFED171FBC}"/>
              </a:ext>
            </a:extLst>
          </p:cNvPr>
          <p:cNvGrpSpPr/>
          <p:nvPr userDrawn="1"/>
        </p:nvGrpSpPr>
        <p:grpSpPr>
          <a:xfrm>
            <a:off x="8748345" y="5922334"/>
            <a:ext cx="3378393" cy="899665"/>
            <a:chOff x="8748345" y="5922334"/>
            <a:chExt cx="3378393" cy="899665"/>
          </a:xfrm>
        </p:grpSpPr>
        <p:pic>
          <p:nvPicPr>
            <p:cNvPr id="11" name="Graphic 10">
              <a:extLst>
                <a:ext uri="{FF2B5EF4-FFF2-40B4-BE49-F238E27FC236}">
                  <a16:creationId xmlns:a16="http://schemas.microsoft.com/office/drawing/2014/main" id="{E39DB406-299D-4968-BFC9-8479320EA0F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84787" y="5922334"/>
              <a:ext cx="841951" cy="899665"/>
            </a:xfrm>
            <a:prstGeom prst="rect">
              <a:avLst/>
            </a:prstGeom>
          </p:spPr>
        </p:pic>
        <p:pic>
          <p:nvPicPr>
            <p:cNvPr id="12" name="Graphic 11">
              <a:extLst>
                <a:ext uri="{FF2B5EF4-FFF2-40B4-BE49-F238E27FC236}">
                  <a16:creationId xmlns:a16="http://schemas.microsoft.com/office/drawing/2014/main" id="{9020996D-F71B-4312-BFAE-07E65110E99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630453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51512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60319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232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3229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47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491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25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728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44625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41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Plain">
    <p:bg>
      <p:bgRef idx="1001">
        <a:schemeClr val="bg2"/>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44B1990-E922-475D-BDA2-9E23A047A1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sp>
        <p:nvSpPr>
          <p:cNvPr id="3" name="Title 1"/>
          <p:cNvSpPr>
            <a:spLocks noGrp="1"/>
          </p:cNvSpPr>
          <p:nvPr>
            <p:ph type="title" hasCustomPrompt="1"/>
          </p:nvPr>
        </p:nvSpPr>
        <p:spPr>
          <a:xfrm>
            <a:off x="568047" y="2084172"/>
            <a:ext cx="11354714" cy="1158793"/>
          </a:xfrm>
          <a:noFill/>
        </p:spPr>
        <p:txBody>
          <a:bodyPr wrap="square" tIns="91440" bIns="91440" anchor="t" anchorCtr="0">
            <a:spAutoFit/>
          </a:bodyPr>
          <a:lstStyle>
            <a:lvl1pPr>
              <a:defRPr sz="7058" spc="-98" baseline="0">
                <a:solidFill>
                  <a:schemeClr val="tx1"/>
                </a:solidFill>
              </a:defRPr>
            </a:lvl1pPr>
          </a:lstStyle>
          <a:p>
            <a:r>
              <a:rPr lang="en-US"/>
              <a:t>Section title</a:t>
            </a:r>
          </a:p>
        </p:txBody>
      </p:sp>
      <p:pic>
        <p:nvPicPr>
          <p:cNvPr id="17" name="Picture 16">
            <a:extLst>
              <a:ext uri="{FF2B5EF4-FFF2-40B4-BE49-F238E27FC236}">
                <a16:creationId xmlns:a16="http://schemas.microsoft.com/office/drawing/2014/main" id="{14FDA669-E474-4468-AC09-ED6F4A19D7A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009404" y="448578"/>
            <a:ext cx="9172873" cy="6621296"/>
          </a:xfrm>
          <a:prstGeom prst="rect">
            <a:avLst/>
          </a:prstGeom>
        </p:spPr>
      </p:pic>
      <p:sp>
        <p:nvSpPr>
          <p:cNvPr id="18" name="TextBox 17">
            <a:extLst>
              <a:ext uri="{FF2B5EF4-FFF2-40B4-BE49-F238E27FC236}">
                <a16:creationId xmlns:a16="http://schemas.microsoft.com/office/drawing/2014/main" id="{64B34822-29D0-402A-B058-E76EB9B985CC}"/>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3600" b="0" i="0" u="none" strike="noStrike" kern="0" cap="none" spc="0" normalizeH="0" baseline="0" noProof="0" dirty="0">
                <a:ln>
                  <a:noFill/>
                </a:ln>
                <a:solidFill>
                  <a:srgbClr val="F2F2F2">
                    <a:alpha val="49000"/>
                  </a:srgbClr>
                </a:solidFill>
                <a:effectLst/>
                <a:uLnTx/>
                <a:uFillTx/>
              </a:rPr>
              <a:t>.NET</a:t>
            </a:r>
          </a:p>
        </p:txBody>
      </p:sp>
      <p:grpSp>
        <p:nvGrpSpPr>
          <p:cNvPr id="6" name="Group 5">
            <a:extLst>
              <a:ext uri="{FF2B5EF4-FFF2-40B4-BE49-F238E27FC236}">
                <a16:creationId xmlns:a16="http://schemas.microsoft.com/office/drawing/2014/main" id="{6950C65B-AB13-425C-AFDF-B08BBA7C2EBF}"/>
              </a:ext>
            </a:extLst>
          </p:cNvPr>
          <p:cNvGrpSpPr/>
          <p:nvPr userDrawn="1"/>
        </p:nvGrpSpPr>
        <p:grpSpPr>
          <a:xfrm>
            <a:off x="8748345" y="5922334"/>
            <a:ext cx="3378393" cy="899665"/>
            <a:chOff x="8748345" y="5922334"/>
            <a:chExt cx="3378393" cy="899665"/>
          </a:xfrm>
        </p:grpSpPr>
        <p:pic>
          <p:nvPicPr>
            <p:cNvPr id="7" name="Graphic 6">
              <a:extLst>
                <a:ext uri="{FF2B5EF4-FFF2-40B4-BE49-F238E27FC236}">
                  <a16:creationId xmlns:a16="http://schemas.microsoft.com/office/drawing/2014/main" id="{52D4ADF9-6D79-44BD-B222-1A57417D815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84787" y="5922334"/>
              <a:ext cx="841951" cy="899665"/>
            </a:xfrm>
            <a:prstGeom prst="rect">
              <a:avLst/>
            </a:prstGeom>
          </p:spPr>
        </p:pic>
        <p:pic>
          <p:nvPicPr>
            <p:cNvPr id="8" name="Graphic 7">
              <a:extLst>
                <a:ext uri="{FF2B5EF4-FFF2-40B4-BE49-F238E27FC236}">
                  <a16:creationId xmlns:a16="http://schemas.microsoft.com/office/drawing/2014/main" id="{F1AE039C-CBC2-474F-BD4C-C8A097EEDE1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957321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5449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6893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EFE21-B13F-4499-90A4-59AC349C3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04999C-0AB4-443D-801B-0B4F6A9A962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C3855A-A8F4-4AE3-BF69-2641097E409D}"/>
              </a:ext>
            </a:extLst>
          </p:cNvPr>
          <p:cNvSpPr>
            <a:spLocks noGrp="1"/>
          </p:cNvSpPr>
          <p:nvPr>
            <p:ph type="dt" sz="half" idx="10"/>
          </p:nvPr>
        </p:nvSpPr>
        <p:spPr/>
        <p:txBody>
          <a:bodyPr/>
          <a:lstStyle/>
          <a:p>
            <a:fld id="{6292AE32-53D7-4C54-852C-F58199D4A444}" type="datetimeFigureOut">
              <a:rPr lang="en-US" smtClean="0"/>
              <a:t>11/28/2018</a:t>
            </a:fld>
            <a:endParaRPr lang="en-US"/>
          </a:p>
        </p:txBody>
      </p:sp>
      <p:sp>
        <p:nvSpPr>
          <p:cNvPr id="5" name="Footer Placeholder 4">
            <a:extLst>
              <a:ext uri="{FF2B5EF4-FFF2-40B4-BE49-F238E27FC236}">
                <a16:creationId xmlns:a16="http://schemas.microsoft.com/office/drawing/2014/main" id="{2538A774-5E7F-44EC-A18E-6498F6EF42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CAA164-D1BF-44E7-A8F6-699D7409B9A8}"/>
              </a:ext>
            </a:extLst>
          </p:cNvPr>
          <p:cNvSpPr>
            <a:spLocks noGrp="1"/>
          </p:cNvSpPr>
          <p:nvPr>
            <p:ph type="sldNum" sz="quarter" idx="12"/>
          </p:nvPr>
        </p:nvSpPr>
        <p:spPr/>
        <p:txBody>
          <a:bodyPr/>
          <a:lstStyle/>
          <a:p>
            <a:fld id="{BE843F74-2A08-45E5-A6E6-FF9AE083F0F8}" type="slidenum">
              <a:rPr lang="en-US" smtClean="0"/>
              <a:t>‹#›</a:t>
            </a:fld>
            <a:endParaRPr lang="en-US"/>
          </a:p>
        </p:txBody>
      </p:sp>
    </p:spTree>
    <p:extLst>
      <p:ext uri="{BB962C8B-B14F-4D97-AF65-F5344CB8AC3E}">
        <p14:creationId xmlns:p14="http://schemas.microsoft.com/office/powerpoint/2010/main" val="33355458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3966369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510066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65174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5922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56944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97689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850368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DB17AC7-3DDB-445B-B12E-13742A848B61}"/>
              </a:ext>
            </a:extLst>
          </p:cNvPr>
          <p:cNvGrpSpPr/>
          <p:nvPr userDrawn="1"/>
        </p:nvGrpSpPr>
        <p:grpSpPr>
          <a:xfrm>
            <a:off x="8748345" y="5922334"/>
            <a:ext cx="3378393" cy="899665"/>
            <a:chOff x="8748345" y="5922334"/>
            <a:chExt cx="3378393" cy="899665"/>
          </a:xfrm>
        </p:grpSpPr>
        <p:pic>
          <p:nvPicPr>
            <p:cNvPr id="4" name="Graphic 3">
              <a:extLst>
                <a:ext uri="{FF2B5EF4-FFF2-40B4-BE49-F238E27FC236}">
                  <a16:creationId xmlns:a16="http://schemas.microsoft.com/office/drawing/2014/main" id="{B4C2BFBE-1ECD-4658-85A9-BDBB31E01D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5" name="Graphic 4">
              <a:extLst>
                <a:ext uri="{FF2B5EF4-FFF2-40B4-BE49-F238E27FC236}">
                  <a16:creationId xmlns:a16="http://schemas.microsoft.com/office/drawing/2014/main" id="{5848A207-00F8-4421-AE71-CD44A954263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07296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946349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4582438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992405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3644230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064546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590994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endParaRPr lang="en-US"/>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907984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558028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79461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44905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7.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theme" Target="../theme/theme4.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image" Target="../media/image2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image" Target="../media/image17.emf"/><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theme" Target="../theme/theme5.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heme" Target="../theme/theme7.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theme" Target="../theme/theme8.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image" Target="../media/image17.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930015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2" r:id="rId6"/>
    <p:sldLayoutId id="2147483723" r:id="rId7"/>
    <p:sldLayoutId id="2147483725" r:id="rId8"/>
    <p:sldLayoutId id="2147483711" r:id="rId9"/>
    <p:sldLayoutId id="2147483714" r:id="rId10"/>
    <p:sldLayoutId id="2147483752" r:id="rId11"/>
    <p:sldLayoutId id="2147483753" r:id="rId12"/>
    <p:sldLayoutId id="2147483728" r:id="rId13"/>
    <p:sldLayoutId id="2147483726" r:id="rId14"/>
    <p:sldLayoutId id="2147483754"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499107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2E278C-A646-42F1-858C-8AF3987FAA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461B05-FEAC-4566-B370-96A1E94723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D11467-C59B-4053-9569-B8FAAA72D0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AA9D9E22-0C2D-490C-84A2-6484F7FBB1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7DF904-A5D9-42CB-94B7-49EB86049F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28321-09C3-4A17-813D-8B38A10569C3}" type="slidenum">
              <a:rPr lang="en-US" smtClean="0"/>
              <a:t>‹#›</a:t>
            </a:fld>
            <a:endParaRPr lang="en-US"/>
          </a:p>
        </p:txBody>
      </p:sp>
    </p:spTree>
    <p:extLst>
      <p:ext uri="{BB962C8B-B14F-4D97-AF65-F5344CB8AC3E}">
        <p14:creationId xmlns:p14="http://schemas.microsoft.com/office/powerpoint/2010/main" val="268014913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5193854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6330707"/>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2E278C-A646-42F1-858C-8AF3987FAAA0}"/>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461B05-FEAC-4566-B370-96A1E94723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D11467-C59B-4053-9569-B8FAAA72D092}"/>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A829CE-F0C9-41E0-8848-830E4AEA5878}" type="datetimeFigureOut">
              <a:rPr lang="en-US" smtClean="0"/>
              <a:t>11/28/2018</a:t>
            </a:fld>
            <a:endParaRPr lang="en-US"/>
          </a:p>
        </p:txBody>
      </p:sp>
      <p:sp>
        <p:nvSpPr>
          <p:cNvPr id="5" name="Footer Placeholder 4">
            <a:extLst>
              <a:ext uri="{FF2B5EF4-FFF2-40B4-BE49-F238E27FC236}">
                <a16:creationId xmlns:a16="http://schemas.microsoft.com/office/drawing/2014/main" id="{AA9D9E22-0C2D-490C-84A2-6484F7FBB171}"/>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7DF904-A5D9-42CB-94B7-49EB86049FB1}"/>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28321-09C3-4A17-813D-8B38A10569C3}" type="slidenum">
              <a:rPr lang="en-US" smtClean="0"/>
              <a:t>‹#›</a:t>
            </a:fld>
            <a:endParaRPr lang="en-US"/>
          </a:p>
        </p:txBody>
      </p:sp>
    </p:spTree>
    <p:extLst>
      <p:ext uri="{BB962C8B-B14F-4D97-AF65-F5344CB8AC3E}">
        <p14:creationId xmlns:p14="http://schemas.microsoft.com/office/powerpoint/2010/main" val="1873332410"/>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noAutofit/>
          </a:bodyPr>
          <a:lstStyle/>
          <a:p>
            <a:r>
              <a:rPr lang="es-ES"/>
              <a:t>Haga clic para modificar el estilo de título del patrón</a:t>
            </a:r>
            <a:endParaRPr lang="en-US"/>
          </a:p>
        </p:txBody>
      </p:sp>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12351491" y="779677"/>
            <a:ext cx="354418" cy="838899"/>
          </a:xfrm>
          <a:prstGeom prst="rect">
            <a:avLst/>
          </a:prstGeom>
          <a:solidFill>
            <a:srgbClr val="76C7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351491" y="1618576"/>
            <a:ext cx="354418" cy="838899"/>
          </a:xfrm>
          <a:prstGeom prst="rect">
            <a:avLst/>
          </a:prstGeom>
          <a:solidFill>
            <a:srgbClr val="FF9D6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351489" y="4135271"/>
            <a:ext cx="354418" cy="838899"/>
          </a:xfrm>
          <a:prstGeom prst="rect">
            <a:avLst/>
          </a:prstGeom>
          <a:solidFill>
            <a:srgbClr val="82CA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351489" y="4974170"/>
            <a:ext cx="354418" cy="838899"/>
          </a:xfrm>
          <a:prstGeom prst="rect">
            <a:avLst/>
          </a:prstGeom>
          <a:solidFill>
            <a:srgbClr val="797A7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12351490" y="2457474"/>
            <a:ext cx="354418" cy="838899"/>
          </a:xfrm>
          <a:prstGeom prst="rect">
            <a:avLst/>
          </a:prstGeom>
          <a:solidFill>
            <a:srgbClr val="FFC0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12351489" y="3296373"/>
            <a:ext cx="354418" cy="838899"/>
          </a:xfrm>
          <a:prstGeom prst="rect">
            <a:avLst/>
          </a:prstGeom>
          <a:solidFill>
            <a:srgbClr val="FCD38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userDrawn="1"/>
        </p:nvSpPr>
        <p:spPr>
          <a:xfrm>
            <a:off x="12705907" y="1091404"/>
            <a:ext cx="866263" cy="215444"/>
          </a:xfrm>
          <a:prstGeom prst="rect">
            <a:avLst/>
          </a:prstGeom>
          <a:noFill/>
        </p:spPr>
        <p:txBody>
          <a:bodyPr wrap="none" lIns="0" tIns="0" rIns="0" bIns="0" rtlCol="0">
            <a:spAutoFit/>
          </a:bodyPr>
          <a:lstStyle/>
          <a:p>
            <a:r>
              <a:rPr lang="es-ES" sz="1400" spc="-70">
                <a:solidFill>
                  <a:srgbClr val="797A7D"/>
                </a:solidFill>
              </a:rPr>
              <a:t>118 199 159</a:t>
            </a:r>
          </a:p>
        </p:txBody>
      </p:sp>
      <p:sp>
        <p:nvSpPr>
          <p:cNvPr id="11" name="TextBox 10"/>
          <p:cNvSpPr txBox="1"/>
          <p:nvPr userDrawn="1"/>
        </p:nvSpPr>
        <p:spPr>
          <a:xfrm>
            <a:off x="12705907" y="1870723"/>
            <a:ext cx="779059" cy="215444"/>
          </a:xfrm>
          <a:prstGeom prst="rect">
            <a:avLst/>
          </a:prstGeom>
          <a:noFill/>
        </p:spPr>
        <p:txBody>
          <a:bodyPr wrap="none" lIns="0" tIns="0" rIns="0" bIns="0" rtlCol="0">
            <a:spAutoFit/>
          </a:bodyPr>
          <a:lstStyle/>
          <a:p>
            <a:r>
              <a:rPr lang="es-ES" sz="1400" spc="-70">
                <a:solidFill>
                  <a:srgbClr val="797A7D"/>
                </a:solidFill>
              </a:rPr>
              <a:t>255 157 97</a:t>
            </a:r>
          </a:p>
        </p:txBody>
      </p:sp>
      <p:sp>
        <p:nvSpPr>
          <p:cNvPr id="12" name="TextBox 11"/>
          <p:cNvSpPr txBox="1"/>
          <p:nvPr userDrawn="1"/>
        </p:nvSpPr>
        <p:spPr>
          <a:xfrm>
            <a:off x="12705907" y="2711808"/>
            <a:ext cx="779059" cy="215444"/>
          </a:xfrm>
          <a:prstGeom prst="rect">
            <a:avLst/>
          </a:prstGeom>
          <a:noFill/>
        </p:spPr>
        <p:txBody>
          <a:bodyPr wrap="none" lIns="0" tIns="0" rIns="0" bIns="0" rtlCol="0">
            <a:spAutoFit/>
          </a:bodyPr>
          <a:lstStyle/>
          <a:p>
            <a:r>
              <a:rPr lang="es-ES" sz="1400" spc="-70">
                <a:solidFill>
                  <a:srgbClr val="797A7D"/>
                </a:solidFill>
              </a:rPr>
              <a:t>255 192 17</a:t>
            </a:r>
          </a:p>
        </p:txBody>
      </p:sp>
      <p:sp>
        <p:nvSpPr>
          <p:cNvPr id="13" name="TextBox 12"/>
          <p:cNvSpPr txBox="1"/>
          <p:nvPr userDrawn="1"/>
        </p:nvSpPr>
        <p:spPr>
          <a:xfrm>
            <a:off x="12705907" y="3503747"/>
            <a:ext cx="866263" cy="215444"/>
          </a:xfrm>
          <a:prstGeom prst="rect">
            <a:avLst/>
          </a:prstGeom>
          <a:noFill/>
        </p:spPr>
        <p:txBody>
          <a:bodyPr wrap="none" lIns="0" tIns="0" rIns="0" bIns="0" rtlCol="0">
            <a:spAutoFit/>
          </a:bodyPr>
          <a:lstStyle/>
          <a:p>
            <a:r>
              <a:rPr lang="es-ES" sz="1400" spc="-70">
                <a:solidFill>
                  <a:srgbClr val="797A7D"/>
                </a:solidFill>
              </a:rPr>
              <a:t>252 211 132</a:t>
            </a:r>
          </a:p>
        </p:txBody>
      </p:sp>
      <p:sp>
        <p:nvSpPr>
          <p:cNvPr id="14" name="TextBox 13"/>
          <p:cNvSpPr txBox="1"/>
          <p:nvPr userDrawn="1"/>
        </p:nvSpPr>
        <p:spPr>
          <a:xfrm>
            <a:off x="12705907" y="4389605"/>
            <a:ext cx="866263" cy="215444"/>
          </a:xfrm>
          <a:prstGeom prst="rect">
            <a:avLst/>
          </a:prstGeom>
          <a:noFill/>
        </p:spPr>
        <p:txBody>
          <a:bodyPr wrap="none" lIns="0" tIns="0" rIns="0" bIns="0" rtlCol="0">
            <a:spAutoFit/>
          </a:bodyPr>
          <a:lstStyle/>
          <a:p>
            <a:r>
              <a:rPr lang="es-ES" sz="1400" spc="-70">
                <a:solidFill>
                  <a:srgbClr val="797A7D"/>
                </a:solidFill>
              </a:rPr>
              <a:t>130 202 255</a:t>
            </a:r>
          </a:p>
        </p:txBody>
      </p:sp>
      <p:sp>
        <p:nvSpPr>
          <p:cNvPr id="15" name="TextBox 14"/>
          <p:cNvSpPr txBox="1"/>
          <p:nvPr userDrawn="1"/>
        </p:nvSpPr>
        <p:spPr>
          <a:xfrm>
            <a:off x="12705906" y="5285897"/>
            <a:ext cx="866263" cy="215444"/>
          </a:xfrm>
          <a:prstGeom prst="rect">
            <a:avLst/>
          </a:prstGeom>
          <a:noFill/>
        </p:spPr>
        <p:txBody>
          <a:bodyPr wrap="none" lIns="0" tIns="0" rIns="0" bIns="0" rtlCol="0">
            <a:spAutoFit/>
          </a:bodyPr>
          <a:lstStyle/>
          <a:p>
            <a:r>
              <a:rPr lang="es-ES" sz="1400" spc="-70">
                <a:solidFill>
                  <a:srgbClr val="797A7D"/>
                </a:solidFill>
              </a:rPr>
              <a:t>121 122 125</a:t>
            </a:r>
          </a:p>
        </p:txBody>
      </p:sp>
    </p:spTree>
    <p:extLst>
      <p:ext uri="{BB962C8B-B14F-4D97-AF65-F5344CB8AC3E}">
        <p14:creationId xmlns:p14="http://schemas.microsoft.com/office/powerpoint/2010/main" val="109605474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Lst>
  <p:transition>
    <p:fade/>
  </p:transition>
  <p:hf sldNum="0" hdr="0" ftr="0" dt="0"/>
  <p:txStyles>
    <p:titleStyle>
      <a:lvl1pPr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solidFill>
            <a:srgbClr val="797A7D"/>
          </a:solidFill>
          <a:latin typeface="+mj-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rgbClr val="797A7D"/>
          </a:soli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solidFill>
            <a:srgbClr val="797A7D"/>
          </a:soli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rgbClr val="797A7D"/>
          </a:soli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2000" kern="1200" spc="0" baseline="0">
          <a:solidFill>
            <a:srgbClr val="797A7D"/>
          </a:soli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588727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 id="2147483938" r:id="rId26"/>
    <p:sldLayoutId id="2147483939" r:id="rId27"/>
    <p:sldLayoutId id="2147483940"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12554742"/>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 id="2147483980" r:id="rId27"/>
    <p:sldLayoutId id="2147483981" r:id="rId28"/>
    <p:sldLayoutId id="2147483982" r:id="rId29"/>
    <p:sldLayoutId id="2147483983" r:id="rId30"/>
    <p:sldLayoutId id="2147483984" r:id="rId31"/>
    <p:sldLayoutId id="2147483985" r:id="rId32"/>
    <p:sldLayoutId id="2147483986" r:id="rId33"/>
    <p:sldLayoutId id="2147483987" r:id="rId34"/>
  </p:sldLayoutIdLst>
  <p:transition>
    <p:fade/>
  </p:transition>
  <p:hf sldNum="0" hdr="0" ftr="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6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16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4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4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17.xml"/><Relationship Id="rId1" Type="http://schemas.openxmlformats.org/officeDocument/2006/relationships/slideLayout" Target="../slideLayouts/slideLayout41.xml"/><Relationship Id="rId6" Type="http://schemas.openxmlformats.org/officeDocument/2006/relationships/image" Target="../media/image370.emf"/><Relationship Id="rId5" Type="http://schemas.openxmlformats.org/officeDocument/2006/relationships/customXml" Target="../ink/ink2.xml"/><Relationship Id="rId4" Type="http://schemas.openxmlformats.org/officeDocument/2006/relationships/image" Target="../media/image36.emf"/></Relationships>
</file>

<file path=ppt/slides/_rels/slide18.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9.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41.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microsoft.com/office/2007/relationships/hdphoto" Target="../media/hdphoto1.wdp"/><Relationship Id="rId9" Type="http://schemas.openxmlformats.org/officeDocument/2006/relationships/image" Target="../media/image64.png"/></Relationships>
</file>

<file path=ppt/slides/_rels/slide19.xml.rels><?xml version="1.0" encoding="UTF-8" standalone="yes"?>
<Relationships xmlns="http://schemas.openxmlformats.org/package/2006/relationships"><Relationship Id="rId8" Type="http://schemas.openxmlformats.org/officeDocument/2006/relationships/hyperlink" Target="https://blogs.msdn.microsoft.com/dotnet/2018/07/09/announcing-ml-net-0-3/" TargetMode="External"/><Relationship Id="rId3" Type="http://schemas.openxmlformats.org/officeDocument/2006/relationships/hyperlink" Target="https://github.com/dotnet/machinelearning" TargetMode="External"/><Relationship Id="rId7"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5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1.png"/><Relationship Id="rId7" Type="http://schemas.openxmlformats.org/officeDocument/2006/relationships/image" Target="../media/image62.png"/><Relationship Id="rId12"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41.xml"/><Relationship Id="rId6" Type="http://schemas.openxmlformats.org/officeDocument/2006/relationships/image" Target="../media/image60.png"/><Relationship Id="rId11" Type="http://schemas.openxmlformats.org/officeDocument/2006/relationships/image" Target="../media/image63.jpeg"/><Relationship Id="rId5" Type="http://schemas.microsoft.com/office/2007/relationships/hdphoto" Target="../media/hdphoto1.wdp"/><Relationship Id="rId10" Type="http://schemas.openxmlformats.org/officeDocument/2006/relationships/image" Target="../media/image74.png"/><Relationship Id="rId4" Type="http://schemas.openxmlformats.org/officeDocument/2006/relationships/image" Target="../media/image59.png"/><Relationship Id="rId9" Type="http://schemas.openxmlformats.org/officeDocument/2006/relationships/image" Target="../media/image73.png"/></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57.xml"/><Relationship Id="rId5" Type="http://schemas.openxmlformats.org/officeDocument/2006/relationships/image" Target="../media/image78.png"/><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46.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2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54.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3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34.xml"/><Relationship Id="rId4" Type="http://schemas.openxmlformats.org/officeDocument/2006/relationships/image" Target="../media/image95.png"/></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7.xml"/><Relationship Id="rId1" Type="http://schemas.openxmlformats.org/officeDocument/2006/relationships/slideLayout" Target="../slideLayouts/slideLayout187.xml"/></Relationships>
</file>

<file path=ppt/slides/_rels/slide2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187.xml"/><Relationship Id="rId6" Type="http://schemas.openxmlformats.org/officeDocument/2006/relationships/image" Target="../media/image72.png"/><Relationship Id="rId5" Type="http://schemas.openxmlformats.org/officeDocument/2006/relationships/image" Target="../media/image73.png"/><Relationship Id="rId4" Type="http://schemas.openxmlformats.org/officeDocument/2006/relationships/hyperlink" Target="https://aka.ms/ASApreview1"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hyperlink" Target="http://github.com/dotnet/machinelearning" TargetMode="External"/><Relationship Id="rId7" Type="http://schemas.openxmlformats.org/officeDocument/2006/relationships/image" Target="../media/image98.png"/><Relationship Id="rId12" Type="http://schemas.openxmlformats.org/officeDocument/2006/relationships/image" Target="../media/image101.png"/><Relationship Id="rId2" Type="http://schemas.openxmlformats.org/officeDocument/2006/relationships/notesSlide" Target="../notesSlides/notesSlide29.xml"/><Relationship Id="rId1" Type="http://schemas.openxmlformats.org/officeDocument/2006/relationships/slideLayout" Target="../slideLayouts/slideLayout124.xml"/><Relationship Id="rId6" Type="http://schemas.openxmlformats.org/officeDocument/2006/relationships/hyperlink" Target="https://github.com/dotnet/machinelearning" TargetMode="External"/><Relationship Id="rId11" Type="http://schemas.openxmlformats.org/officeDocument/2006/relationships/hyperlink" Target="https://github.com/dotnet-architecture/eShopOnContainersAI" TargetMode="External"/><Relationship Id="rId5" Type="http://schemas.openxmlformats.org/officeDocument/2006/relationships/hyperlink" Target="http://aka.ms/newapifeedback/" TargetMode="External"/><Relationship Id="rId10" Type="http://schemas.openxmlformats.org/officeDocument/2006/relationships/hyperlink" Target="http://github.com/dotnet/machinelearning-samples" TargetMode="External"/><Relationship Id="rId4" Type="http://schemas.openxmlformats.org/officeDocument/2006/relationships/hyperlink" Target="https://visualstudio.uservoice.com/" TargetMode="External"/><Relationship Id="rId9" Type="http://schemas.openxmlformats.org/officeDocument/2006/relationships/image" Target="../media/image100.png"/></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5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CD2704-A5D7-4E2B-B5EA-992D812827CD}"/>
              </a:ext>
            </a:extLst>
          </p:cNvPr>
          <p:cNvSpPr>
            <a:spLocks noGrp="1"/>
          </p:cNvSpPr>
          <p:nvPr>
            <p:ph type="title" idx="4294967295"/>
          </p:nvPr>
        </p:nvSpPr>
        <p:spPr>
          <a:xfrm>
            <a:off x="0" y="1773238"/>
            <a:ext cx="11063288" cy="1465262"/>
          </a:xfrm>
        </p:spPr>
        <p:txBody>
          <a:bodyPr/>
          <a:lstStyle/>
          <a:p>
            <a:r>
              <a:rPr lang="en-US" sz="5290" dirty="0">
                <a:latin typeface="Segoe UI Light" panose="020B0502040204020203" pitchFamily="34" charset="0"/>
                <a:cs typeface="Segoe UI Light" panose="020B0502040204020203" pitchFamily="34" charset="0"/>
              </a:rPr>
              <a:t>Artificial Intelligence and Machine Learning for Every .NET Developer</a:t>
            </a:r>
          </a:p>
        </p:txBody>
      </p:sp>
      <p:sp>
        <p:nvSpPr>
          <p:cNvPr id="6" name="Text Placeholder 4">
            <a:extLst>
              <a:ext uri="{FF2B5EF4-FFF2-40B4-BE49-F238E27FC236}">
                <a16:creationId xmlns:a16="http://schemas.microsoft.com/office/drawing/2014/main" id="{B705033E-525A-4CD6-9195-5B414A61EB6D}"/>
              </a:ext>
            </a:extLst>
          </p:cNvPr>
          <p:cNvSpPr txBox="1">
            <a:spLocks/>
          </p:cNvSpPr>
          <p:nvPr/>
        </p:nvSpPr>
        <p:spPr>
          <a:xfrm>
            <a:off x="717411" y="3902788"/>
            <a:ext cx="3568994" cy="110799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400" dirty="0">
                <a:gradFill>
                  <a:gsLst>
                    <a:gs pos="91000">
                      <a:srgbClr val="FFFFFF"/>
                    </a:gs>
                    <a:gs pos="0">
                      <a:srgbClr val="FFFFFF"/>
                    </a:gs>
                  </a:gsLst>
                  <a:lin ang="5400000" scaled="0"/>
                </a:gradFill>
                <a:latin typeface="Segoe UI"/>
              </a:rPr>
              <a:t>Eng Teong Cheah</a:t>
            </a:r>
            <a:endPar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MVP in Developer Technologies</a:t>
            </a:r>
            <a:b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br>
            <a:endPar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Twitter: </a:t>
            </a:r>
            <a:r>
              <a:rPr lang="en-US" sz="1600" dirty="0">
                <a:gradFill>
                  <a:gsLst>
                    <a:gs pos="91000">
                      <a:srgbClr val="FFFFFF"/>
                    </a:gs>
                    <a:gs pos="0">
                      <a:srgbClr val="FFFFFF"/>
                    </a:gs>
                  </a:gsLst>
                  <a:lin ang="5400000" scaled="0"/>
                </a:gradFill>
                <a:latin typeface="Segoe UI"/>
              </a:rPr>
              <a:t>@</a:t>
            </a:r>
            <a:r>
              <a:rPr lang="en-US" sz="1600" dirty="0" err="1">
                <a:gradFill>
                  <a:gsLst>
                    <a:gs pos="91000">
                      <a:srgbClr val="FFFFFF"/>
                    </a:gs>
                    <a:gs pos="0">
                      <a:srgbClr val="FFFFFF"/>
                    </a:gs>
                  </a:gsLst>
                  <a:lin ang="5400000" scaled="0"/>
                </a:gradFill>
                <a:latin typeface="Segoe UI"/>
              </a:rPr>
              <a:t>walkercet</a:t>
            </a:r>
            <a:endPar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62712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idx="4294967295"/>
          </p:nvPr>
        </p:nvSpPr>
        <p:spPr>
          <a:xfrm>
            <a:off x="838200" y="2084388"/>
            <a:ext cx="11353800" cy="2178050"/>
          </a:xfrm>
        </p:spPr>
        <p:txBody>
          <a:bodyPr/>
          <a:lstStyle/>
          <a:p>
            <a:r>
              <a:rPr lang="en-US" sz="4800" dirty="0"/>
              <a:t>Pre-built AI:</a:t>
            </a:r>
            <a:br>
              <a:rPr lang="en-US" sz="4800" dirty="0"/>
            </a:br>
            <a:r>
              <a:rPr lang="en-US" sz="4800" dirty="0"/>
              <a:t>Using Azure Cognitive Services </a:t>
            </a:r>
            <a:br>
              <a:rPr lang="en-US" sz="4800" dirty="0"/>
            </a:br>
            <a:r>
              <a:rPr lang="en-US" sz="4800" dirty="0"/>
              <a:t>in .NET applications </a:t>
            </a:r>
          </a:p>
        </p:txBody>
      </p:sp>
    </p:spTree>
    <p:extLst>
      <p:ext uri="{BB962C8B-B14F-4D97-AF65-F5344CB8AC3E}">
        <p14:creationId xmlns:p14="http://schemas.microsoft.com/office/powerpoint/2010/main" val="272669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2454" y="3341362"/>
            <a:ext cx="12203282" cy="35147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2454" y="1866"/>
            <a:ext cx="12187096" cy="3320598"/>
          </a:xfrm>
          <a:prstGeom prst="rect">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1586"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Vision</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From faces to feelings, allow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your apps to understand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images and video</a:t>
            </a:r>
          </a:p>
        </p:txBody>
      </p:sp>
      <p:sp>
        <p:nvSpPr>
          <p:cNvPr id="19" name="TextBox 18">
            <a:extLst>
              <a:ext uri="{FF2B5EF4-FFF2-40B4-BE49-F238E27FC236}">
                <a16:creationId xmlns:a16="http://schemas.microsoft.com/office/drawing/2014/main" id="{6B5CE148-D382-4CBD-8C97-2A282769FD9D}"/>
              </a:ext>
            </a:extLst>
          </p:cNvPr>
          <p:cNvSpPr txBox="1"/>
          <p:nvPr/>
        </p:nvSpPr>
        <p:spPr>
          <a:xfrm>
            <a:off x="2216508" y="4026557"/>
            <a:ext cx="1926538" cy="1805687"/>
          </a:xfrm>
          <a:prstGeom prst="rect">
            <a:avLst/>
          </a:prstGeom>
          <a:noFill/>
        </p:spPr>
        <p:txBody>
          <a:bodyPr wrap="square" lIns="179161" tIns="143331" rIns="89606"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ech</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Hear and speak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o your users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y filtering noise, identifying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akers, and understanding intent</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06355"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nowledge</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ap into rich knowledge amassed from the web, academia, or your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own data</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161433" y="4026556"/>
            <a:ext cx="1926538" cy="1712277"/>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nguage</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cess text and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earn how to recognize what users want</a:t>
            </a:r>
          </a:p>
          <a:p>
            <a:pPr marL="0" marR="0" lvl="0" indent="0" algn="ctr" defTabSz="895601" rtl="0" eaLnBrk="1" fontAlgn="auto" latinLnBrk="0" hangingPunct="1">
              <a:lnSpc>
                <a:spcPct val="90000"/>
              </a:lnSpc>
              <a:spcBef>
                <a:spcPts val="0"/>
              </a:spcBef>
              <a:spcAft>
                <a:spcPts val="588"/>
              </a:spcAft>
              <a:buClrTx/>
              <a:buSzTx/>
              <a:buFontTx/>
              <a:buNone/>
              <a:tabLst/>
              <a:defRPr/>
            </a:pPr>
            <a:endParaRPr kumimoji="0" lang="en-US" sz="1537"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0BF17D20-2F5A-4851-B595-1D4BBC639D7C}"/>
              </a:ext>
            </a:extLst>
          </p:cNvPr>
          <p:cNvSpPr txBox="1"/>
          <p:nvPr/>
        </p:nvSpPr>
        <p:spPr>
          <a:xfrm>
            <a:off x="9996199" y="4026556"/>
            <a:ext cx="1926538" cy="2346628"/>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bs</a:t>
            </a:r>
            <a:endParaRPr kumimoji="0" lang="en-US" sz="2306" b="1"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n early look at emerging Cognitive Services technologies: discover, try and give feedback on new technologies before general availability</a:t>
            </a:r>
          </a:p>
        </p:txBody>
      </p:sp>
      <p:sp>
        <p:nvSpPr>
          <p:cNvPr id="28" name="TextBox 27">
            <a:extLst>
              <a:ext uri="{FF2B5EF4-FFF2-40B4-BE49-F238E27FC236}">
                <a16:creationId xmlns:a16="http://schemas.microsoft.com/office/drawing/2014/main" id="{69BFCF29-AE15-44DB-8239-E086782C646E}"/>
              </a:ext>
            </a:extLst>
          </p:cNvPr>
          <p:cNvSpPr txBox="1"/>
          <p:nvPr/>
        </p:nvSpPr>
        <p:spPr>
          <a:xfrm>
            <a:off x="8051277"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earch</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ccess billions of web pages, images, videos, and news with the power of Bing APIs</a:t>
            </a:r>
          </a:p>
        </p:txBody>
      </p:sp>
      <p:sp>
        <p:nvSpPr>
          <p:cNvPr id="34" name="Rectangle 33"/>
          <p:cNvSpPr/>
          <p:nvPr/>
        </p:nvSpPr>
        <p:spPr bwMode="auto">
          <a:xfrm>
            <a:off x="2453" y="-40793"/>
            <a:ext cx="12205014" cy="3363256"/>
          </a:xfrm>
          <a:prstGeom prst="rect">
            <a:avLst/>
          </a:prstGeom>
          <a:gradFill flip="none" rotWithShape="1">
            <a:gsLst>
              <a:gs pos="13000">
                <a:schemeClr val="tx1">
                  <a:alpha val="0"/>
                </a:schemeClr>
              </a:gs>
              <a:gs pos="83000">
                <a:srgbClr val="353535"/>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endParaRPr kumimoji="0" lang="en-US" sz="230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321754" y="1096341"/>
            <a:ext cx="7292266" cy="1088989"/>
          </a:xfrm>
          <a:prstGeom prst="rect">
            <a:avLst/>
          </a:prstGeom>
        </p:spPr>
        <p:txBody>
          <a:bodyPr wrap="square" anchor="ctr">
            <a:spAutoFit/>
          </a:bodyPr>
          <a:lstStyle/>
          <a:p>
            <a:pPr marL="0" marR="0" lvl="0" indent="0" algn="l" defTabSz="895601" rtl="0" eaLnBrk="1" fontAlgn="auto" latinLnBrk="0" hangingPunct="1">
              <a:lnSpc>
                <a:spcPct val="90000"/>
              </a:lnSpc>
              <a:spcBef>
                <a:spcPts val="0"/>
              </a:spcBef>
              <a:spcAft>
                <a:spcPts val="0"/>
              </a:spcAft>
              <a:buClrTx/>
              <a:buSzTx/>
              <a:buFontTx/>
              <a:buNone/>
              <a:tabLst/>
              <a:defRPr/>
            </a:pPr>
            <a:r>
              <a:rPr kumimoji="0" lang="en-US" altLang="en-US" sz="4311"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Light"/>
                <a:ea typeface="+mn-ea"/>
                <a:cs typeface="+mn-cs"/>
              </a:rPr>
              <a:t>Microsoft Cognitive Services</a:t>
            </a:r>
          </a:p>
          <a:p>
            <a:pPr marL="0" marR="0" lvl="0" indent="0" algn="l" defTabSz="895601" rtl="0" eaLnBrk="1" fontAlgn="auto" latinLnBrk="0" hangingPunct="1">
              <a:lnSpc>
                <a:spcPct val="90000"/>
              </a:lnSpc>
              <a:spcBef>
                <a:spcPts val="0"/>
              </a:spcBef>
              <a:spcAft>
                <a:spcPts val="1440"/>
              </a:spcAft>
              <a:buClrTx/>
              <a:buSzTx/>
              <a:buFontTx/>
              <a:buNone/>
              <a:tabLst/>
              <a:defRPr/>
            </a:pPr>
            <a:r>
              <a:rPr kumimoji="0" lang="en-US" sz="2744"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Semilight"/>
                <a:ea typeface="+mn-ea"/>
                <a:cs typeface="+mn-cs"/>
              </a:rPr>
              <a:t>Commoditized AI</a:t>
            </a:r>
          </a:p>
        </p:txBody>
      </p:sp>
      <p:cxnSp>
        <p:nvCxnSpPr>
          <p:cNvPr id="13" name="Straight Connector 12"/>
          <p:cNvCxnSpPr/>
          <p:nvPr/>
        </p:nvCxnSpPr>
        <p:spPr>
          <a:xfrm>
            <a:off x="2453" y="3313088"/>
            <a:ext cx="12205014"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697215" y="2877597"/>
            <a:ext cx="1075277" cy="1075277"/>
            <a:chOff x="1635346" y="1767983"/>
            <a:chExt cx="1287898" cy="1287898"/>
          </a:xfrm>
        </p:grpSpPr>
        <p:sp>
          <p:nvSpPr>
            <p:cNvPr id="83" name="Oval 82"/>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85" name="Group 84"/>
          <p:cNvGrpSpPr/>
          <p:nvPr/>
        </p:nvGrpSpPr>
        <p:grpSpPr>
          <a:xfrm>
            <a:off x="2642139" y="2877597"/>
            <a:ext cx="1075277" cy="1075277"/>
            <a:chOff x="1920558" y="3040063"/>
            <a:chExt cx="1097280" cy="1097280"/>
          </a:xfrm>
        </p:grpSpPr>
        <p:sp>
          <p:nvSpPr>
            <p:cNvPr id="86" name="Oval 85"/>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7" name="Picture 8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24" name="Group 23">
            <a:extLst>
              <a:ext uri="{FF2B5EF4-FFF2-40B4-BE49-F238E27FC236}">
                <a16:creationId xmlns:a16="http://schemas.microsoft.com/office/drawing/2014/main" id="{583CD957-47EF-4320-BD8D-CB33173E1681}"/>
              </a:ext>
            </a:extLst>
          </p:cNvPr>
          <p:cNvGrpSpPr/>
          <p:nvPr/>
        </p:nvGrpSpPr>
        <p:grpSpPr>
          <a:xfrm>
            <a:off x="4587061" y="2877597"/>
            <a:ext cx="1075277" cy="1075277"/>
            <a:chOff x="4678421" y="2934576"/>
            <a:chExt cx="1097280" cy="1097280"/>
          </a:xfrm>
        </p:grpSpPr>
        <p:sp>
          <p:nvSpPr>
            <p:cNvPr id="88" name="Oval 87"/>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 name="Picture 2">
              <a:extLst>
                <a:ext uri="{FF2B5EF4-FFF2-40B4-BE49-F238E27FC236}">
                  <a16:creationId xmlns:a16="http://schemas.microsoft.com/office/drawing/2014/main" id="{55A56C49-A446-4359-9EAF-9E22D7F29D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31" name="Group 30">
            <a:extLst>
              <a:ext uri="{FF2B5EF4-FFF2-40B4-BE49-F238E27FC236}">
                <a16:creationId xmlns:a16="http://schemas.microsoft.com/office/drawing/2014/main" id="{CF49ECCD-DDB7-43CE-B704-76FD7B1896A4}"/>
              </a:ext>
            </a:extLst>
          </p:cNvPr>
          <p:cNvGrpSpPr/>
          <p:nvPr/>
        </p:nvGrpSpPr>
        <p:grpSpPr>
          <a:xfrm>
            <a:off x="6531984" y="2877597"/>
            <a:ext cx="1075277" cy="1075277"/>
            <a:chOff x="6663142" y="2934576"/>
            <a:chExt cx="1097280" cy="1097280"/>
          </a:xfrm>
        </p:grpSpPr>
        <p:sp>
          <p:nvSpPr>
            <p:cNvPr id="89" name="Oval 88"/>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1" name="Picture 10">
              <a:extLst>
                <a:ext uri="{FF2B5EF4-FFF2-40B4-BE49-F238E27FC236}">
                  <a16:creationId xmlns:a16="http://schemas.microsoft.com/office/drawing/2014/main" id="{D883A65B-06F0-49B3-B523-654E5814B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35" name="Group 34">
            <a:extLst>
              <a:ext uri="{FF2B5EF4-FFF2-40B4-BE49-F238E27FC236}">
                <a16:creationId xmlns:a16="http://schemas.microsoft.com/office/drawing/2014/main" id="{09855BE8-D98E-4C80-9274-B4046F8A9C8C}"/>
              </a:ext>
            </a:extLst>
          </p:cNvPr>
          <p:cNvGrpSpPr/>
          <p:nvPr/>
        </p:nvGrpSpPr>
        <p:grpSpPr>
          <a:xfrm>
            <a:off x="8481050" y="2877597"/>
            <a:ext cx="1075277" cy="1075277"/>
            <a:chOff x="8652091" y="2934576"/>
            <a:chExt cx="1097280" cy="1097280"/>
          </a:xfrm>
        </p:grpSpPr>
        <p:sp>
          <p:nvSpPr>
            <p:cNvPr id="90" name="Oval 89"/>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6" name="Picture 15">
              <a:extLst>
                <a:ext uri="{FF2B5EF4-FFF2-40B4-BE49-F238E27FC236}">
                  <a16:creationId xmlns:a16="http://schemas.microsoft.com/office/drawing/2014/main" id="{6E5CF031-57F4-45D9-AA33-D3997DAEE5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26" name="Group 25">
            <a:extLst>
              <a:ext uri="{FF2B5EF4-FFF2-40B4-BE49-F238E27FC236}">
                <a16:creationId xmlns:a16="http://schemas.microsoft.com/office/drawing/2014/main" id="{88E62920-8263-47D7-9D31-12D9A382DE61}"/>
              </a:ext>
            </a:extLst>
          </p:cNvPr>
          <p:cNvGrpSpPr/>
          <p:nvPr/>
        </p:nvGrpSpPr>
        <p:grpSpPr>
          <a:xfrm>
            <a:off x="10421829" y="2877597"/>
            <a:ext cx="1075277" cy="1075277"/>
            <a:chOff x="10632583" y="2934576"/>
            <a:chExt cx="1097280" cy="1097280"/>
          </a:xfrm>
        </p:grpSpPr>
        <p:sp>
          <p:nvSpPr>
            <p:cNvPr id="91" name="Oval 90"/>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03" name="Picture 102">
              <a:extLst>
                <a:ext uri="{FF2B5EF4-FFF2-40B4-BE49-F238E27FC236}">
                  <a16:creationId xmlns:a16="http://schemas.microsoft.com/office/drawing/2014/main" id="{BFC99DAF-49A7-4950-ADFE-DAE6F87873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Tree>
    <p:extLst>
      <p:ext uri="{BB962C8B-B14F-4D97-AF65-F5344CB8AC3E}">
        <p14:creationId xmlns:p14="http://schemas.microsoft.com/office/powerpoint/2010/main" val="186197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w</p:attrName>
                                        </p:attrNameLst>
                                      </p:cBhvr>
                                      <p:tavLst>
                                        <p:tav tm="0">
                                          <p:val>
                                            <p:fltVal val="0"/>
                                          </p:val>
                                        </p:tav>
                                        <p:tav tm="100000">
                                          <p:val>
                                            <p:strVal val="#ppt_w"/>
                                          </p:val>
                                        </p:tav>
                                      </p:tavLst>
                                    </p:anim>
                                    <p:anim calcmode="lin" valueType="num">
                                      <p:cBhvr>
                                        <p:cTn id="18" dur="500" fill="hold"/>
                                        <p:tgtEl>
                                          <p:spTgt spid="24"/>
                                        </p:tgtEl>
                                        <p:attrNameLst>
                                          <p:attrName>ppt_h</p:attrName>
                                        </p:attrNameLst>
                                      </p:cBhvr>
                                      <p:tavLst>
                                        <p:tav tm="0">
                                          <p:val>
                                            <p:fltVal val="0"/>
                                          </p:val>
                                        </p:tav>
                                        <p:tav tm="100000">
                                          <p:val>
                                            <p:strVal val="#ppt_h"/>
                                          </p:val>
                                        </p:tav>
                                      </p:tavLst>
                                    </p:anim>
                                    <p:animEffect transition="in" filter="fade">
                                      <p:cBhvr>
                                        <p:cTn id="19" dur="500"/>
                                        <p:tgtEl>
                                          <p:spTgt spid="24"/>
                                        </p:tgtEl>
                                      </p:cBhvr>
                                    </p:animEffect>
                                  </p:childTnLst>
                                </p:cTn>
                              </p:par>
                              <p:par>
                                <p:cTn id="20" presetID="53" presetClass="entr" presetSubtype="16"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7" grpId="0"/>
      <p:bldP spid="2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3319" y="2351"/>
            <a:ext cx="12185367" cy="3320127"/>
          </a:xfrm>
          <a:prstGeom prst="rect">
            <a:avLst/>
          </a:prstGeom>
        </p:spPr>
      </p:pic>
      <p:sp>
        <p:nvSpPr>
          <p:cNvPr id="34" name="Rectangle 33"/>
          <p:cNvSpPr/>
          <p:nvPr/>
        </p:nvSpPr>
        <p:spPr bwMode="auto">
          <a:xfrm>
            <a:off x="20292" y="35786"/>
            <a:ext cx="12203283" cy="3320612"/>
          </a:xfrm>
          <a:prstGeom prst="rect">
            <a:avLst/>
          </a:prstGeom>
          <a:gradFill>
            <a:gsLst>
              <a:gs pos="13000">
                <a:schemeClr val="tx1">
                  <a:alpha val="0"/>
                </a:schemeClr>
              </a:gs>
              <a:gs pos="83000">
                <a:srgbClr val="353535"/>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algn="ctr" defTabSz="895481" rtl="0" eaLnBrk="1" fontAlgn="base" latinLnBrk="0" hangingPunct="1">
              <a:lnSpc>
                <a:spcPct val="90000"/>
              </a:lnSpc>
              <a:spcBef>
                <a:spcPct val="0"/>
              </a:spcBef>
              <a:spcAft>
                <a:spcPct val="0"/>
              </a:spcAft>
              <a:buClrTx/>
              <a:buSzTx/>
              <a:buFontTx/>
              <a:buNone/>
              <a:tabLst/>
              <a:defRPr/>
            </a:pPr>
            <a:endParaRPr kumimoji="0" lang="en-US" sz="230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59093D50-F401-42BE-AA67-E54306E8D38A}"/>
              </a:ext>
            </a:extLst>
          </p:cNvPr>
          <p:cNvGrpSpPr/>
          <p:nvPr/>
        </p:nvGrpSpPr>
        <p:grpSpPr>
          <a:xfrm>
            <a:off x="-10713" y="2886206"/>
            <a:ext cx="12186474" cy="8194394"/>
            <a:chOff x="1" y="2877375"/>
            <a:chExt cx="12191377" cy="8197692"/>
          </a:xfrm>
        </p:grpSpPr>
        <p:sp>
          <p:nvSpPr>
            <p:cNvPr id="40" name="Rectangle 39"/>
            <p:cNvSpPr/>
            <p:nvPr/>
          </p:nvSpPr>
          <p:spPr bwMode="auto">
            <a:xfrm>
              <a:off x="1" y="3341337"/>
              <a:ext cx="12191377" cy="773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0" marR="0" lvl="0" indent="0" algn="ctr" defTabSz="91347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 name="Group 10">
              <a:extLst>
                <a:ext uri="{FF2B5EF4-FFF2-40B4-BE49-F238E27FC236}">
                  <a16:creationId xmlns:a16="http://schemas.microsoft.com/office/drawing/2014/main" id="{012A1733-71D9-4A02-A3C1-42208DCF17B5}"/>
                </a:ext>
              </a:extLst>
            </p:cNvPr>
            <p:cNvGrpSpPr/>
            <p:nvPr/>
          </p:nvGrpSpPr>
          <p:grpSpPr>
            <a:xfrm>
              <a:off x="1" y="2877375"/>
              <a:ext cx="12191377" cy="2010137"/>
              <a:chOff x="1" y="2877375"/>
              <a:chExt cx="12191377" cy="2010137"/>
            </a:xfrm>
          </p:grpSpPr>
          <p:cxnSp>
            <p:nvCxnSpPr>
              <p:cNvPr id="13" name="Straight Connector 12"/>
              <p:cNvCxnSpPr/>
              <p:nvPr/>
            </p:nvCxnSpPr>
            <p:spPr>
              <a:xfrm>
                <a:off x="1" y="3313058"/>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5C9DD03-2810-4A50-86E3-71D6389CB6D3}"/>
                  </a:ext>
                </a:extLst>
              </p:cNvPr>
              <p:cNvGrpSpPr/>
              <p:nvPr/>
            </p:nvGrpSpPr>
            <p:grpSpPr>
              <a:xfrm>
                <a:off x="269241" y="2877375"/>
                <a:ext cx="11655840" cy="2010137"/>
                <a:chOff x="269241" y="2877375"/>
                <a:chExt cx="11655840" cy="2010137"/>
              </a:xfrm>
            </p:grpSpPr>
            <p:sp>
              <p:nvSpPr>
                <p:cNvPr id="58" name="TextBox 57">
                  <a:extLst>
                    <a:ext uri="{FF2B5EF4-FFF2-40B4-BE49-F238E27FC236}">
                      <a16:creationId xmlns:a16="http://schemas.microsoft.com/office/drawing/2014/main" id="{CE91784E-6166-4157-A086-47AF5829C291}"/>
                    </a:ext>
                  </a:extLst>
                </p:cNvPr>
                <p:cNvSpPr txBox="1"/>
                <p:nvPr/>
              </p:nvSpPr>
              <p:spPr>
                <a:xfrm>
                  <a:off x="269241"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sp>
              <p:nvSpPr>
                <p:cNvPr id="60" name="TextBox 59">
                  <a:extLst>
                    <a:ext uri="{FF2B5EF4-FFF2-40B4-BE49-F238E27FC236}">
                      <a16:creationId xmlns:a16="http://schemas.microsoft.com/office/drawing/2014/main" id="{EBF9DA2E-9908-4721-8CFB-B175F2E0DBF3}"/>
                    </a:ext>
                  </a:extLst>
                </p:cNvPr>
                <p:cNvSpPr txBox="1"/>
                <p:nvPr/>
              </p:nvSpPr>
              <p:spPr>
                <a:xfrm>
                  <a:off x="2214946" y="4026796"/>
                  <a:ext cx="1927313" cy="561126"/>
                </a:xfrm>
                <a:prstGeom prst="rect">
                  <a:avLst/>
                </a:prstGeom>
                <a:noFill/>
              </p:spPr>
              <p:txBody>
                <a:bodyPr wrap="square" lIns="179161" tIns="143331" rIns="89606"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61" name="TextBox 60">
                  <a:extLst>
                    <a:ext uri="{FF2B5EF4-FFF2-40B4-BE49-F238E27FC236}">
                      <a16:creationId xmlns:a16="http://schemas.microsoft.com/office/drawing/2014/main" id="{12D34DFA-7FCB-40A0-9A5D-0BF1796CA128}"/>
                    </a:ext>
                  </a:extLst>
                </p:cNvPr>
                <p:cNvSpPr txBox="1"/>
                <p:nvPr/>
              </p:nvSpPr>
              <p:spPr>
                <a:xfrm>
                  <a:off x="6106357"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sp>
              <p:nvSpPr>
                <p:cNvPr id="62" name="TextBox 61">
                  <a:extLst>
                    <a:ext uri="{FF2B5EF4-FFF2-40B4-BE49-F238E27FC236}">
                      <a16:creationId xmlns:a16="http://schemas.microsoft.com/office/drawing/2014/main" id="{31DCBD62-25AE-40EF-89E0-40A1DDD1760D}"/>
                    </a:ext>
                  </a:extLst>
                </p:cNvPr>
                <p:cNvSpPr txBox="1"/>
                <p:nvPr/>
              </p:nvSpPr>
              <p:spPr>
                <a:xfrm>
                  <a:off x="4160652" y="4026796"/>
                  <a:ext cx="1927313" cy="86071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a:p>
                  <a:pPr marL="0" marR="0" lvl="0" indent="0" algn="ctr" defTabSz="895601" rtl="0" eaLnBrk="1" fontAlgn="auto" latinLnBrk="0" hangingPunct="1">
                    <a:lnSpc>
                      <a:spcPct val="90000"/>
                    </a:lnSpc>
                    <a:spcBef>
                      <a:spcPts val="0"/>
                    </a:spcBef>
                    <a:spcAft>
                      <a:spcPts val="588"/>
                    </a:spcAft>
                    <a:buClrTx/>
                    <a:buSzTx/>
                    <a:buFontTx/>
                    <a:buNone/>
                    <a:tabLst/>
                    <a:defRPr/>
                  </a:pPr>
                  <a:endParaRPr kumimoji="0" lang="en-US" sz="1537" b="0"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a:ea typeface="+mn-ea"/>
                    <a:cs typeface="+mn-cs"/>
                  </a:endParaRPr>
                </a:p>
              </p:txBody>
            </p:sp>
            <p:sp>
              <p:nvSpPr>
                <p:cNvPr id="63" name="TextBox 62">
                  <a:extLst>
                    <a:ext uri="{FF2B5EF4-FFF2-40B4-BE49-F238E27FC236}">
                      <a16:creationId xmlns:a16="http://schemas.microsoft.com/office/drawing/2014/main" id="{47003A06-BE7C-4D55-AA62-A0026C225076}"/>
                    </a:ext>
                  </a:extLst>
                </p:cNvPr>
                <p:cNvSpPr txBox="1"/>
                <p:nvPr/>
              </p:nvSpPr>
              <p:spPr>
                <a:xfrm>
                  <a:off x="9997768"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306" b="1"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64" name="TextBox 63">
                  <a:extLst>
                    <a:ext uri="{FF2B5EF4-FFF2-40B4-BE49-F238E27FC236}">
                      <a16:creationId xmlns:a16="http://schemas.microsoft.com/office/drawing/2014/main" id="{B8F0997B-D49E-448D-B177-57D49E5CA910}"/>
                    </a:ext>
                  </a:extLst>
                </p:cNvPr>
                <p:cNvSpPr txBox="1"/>
                <p:nvPr/>
              </p:nvSpPr>
              <p:spPr>
                <a:xfrm>
                  <a:off x="8052063"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nvGrpSpPr>
                <p:cNvPr id="65" name="Group 64">
                  <a:extLst>
                    <a:ext uri="{FF2B5EF4-FFF2-40B4-BE49-F238E27FC236}">
                      <a16:creationId xmlns:a16="http://schemas.microsoft.com/office/drawing/2014/main" id="{953C3725-7B08-4406-A5F4-8C845F770ADB}"/>
                    </a:ext>
                  </a:extLst>
                </p:cNvPr>
                <p:cNvGrpSpPr/>
                <p:nvPr/>
              </p:nvGrpSpPr>
              <p:grpSpPr>
                <a:xfrm>
                  <a:off x="695042" y="2877375"/>
                  <a:ext cx="1075710" cy="1075710"/>
                  <a:chOff x="1635346" y="1767983"/>
                  <a:chExt cx="1287898" cy="1287898"/>
                </a:xfrm>
              </p:grpSpPr>
              <p:sp>
                <p:nvSpPr>
                  <p:cNvPr id="66" name="Oval 65">
                    <a:extLst>
                      <a:ext uri="{FF2B5EF4-FFF2-40B4-BE49-F238E27FC236}">
                        <a16:creationId xmlns:a16="http://schemas.microsoft.com/office/drawing/2014/main" id="{FF88583A-A4B5-472C-BD1D-F304D7A13E6C}"/>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67" name="Picture 66">
                    <a:extLst>
                      <a:ext uri="{FF2B5EF4-FFF2-40B4-BE49-F238E27FC236}">
                        <a16:creationId xmlns:a16="http://schemas.microsoft.com/office/drawing/2014/main" id="{66041E24-20F9-4B40-8784-639454BA7D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68" name="Group 67">
                  <a:extLst>
                    <a:ext uri="{FF2B5EF4-FFF2-40B4-BE49-F238E27FC236}">
                      <a16:creationId xmlns:a16="http://schemas.microsoft.com/office/drawing/2014/main" id="{23CACF17-48E4-4C32-B3A9-4A74D7D7381F}"/>
                    </a:ext>
                  </a:extLst>
                </p:cNvPr>
                <p:cNvGrpSpPr/>
                <p:nvPr/>
              </p:nvGrpSpPr>
              <p:grpSpPr>
                <a:xfrm>
                  <a:off x="2640748" y="2877375"/>
                  <a:ext cx="1075710" cy="1075710"/>
                  <a:chOff x="1920558" y="3040063"/>
                  <a:chExt cx="1097280" cy="1097280"/>
                </a:xfrm>
              </p:grpSpPr>
              <p:sp>
                <p:nvSpPr>
                  <p:cNvPr id="69" name="Oval 68">
                    <a:extLst>
                      <a:ext uri="{FF2B5EF4-FFF2-40B4-BE49-F238E27FC236}">
                        <a16:creationId xmlns:a16="http://schemas.microsoft.com/office/drawing/2014/main" id="{BD8F3FDB-419F-4C7B-83F9-DBA89966655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0" name="Picture 69">
                    <a:extLst>
                      <a:ext uri="{FF2B5EF4-FFF2-40B4-BE49-F238E27FC236}">
                        <a16:creationId xmlns:a16="http://schemas.microsoft.com/office/drawing/2014/main" id="{6069CFDB-2A3C-4C63-9040-F039D20CE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71" name="Group 70">
                  <a:extLst>
                    <a:ext uri="{FF2B5EF4-FFF2-40B4-BE49-F238E27FC236}">
                      <a16:creationId xmlns:a16="http://schemas.microsoft.com/office/drawing/2014/main" id="{1679D710-ECAD-4807-8C9D-F726F017C9D9}"/>
                    </a:ext>
                  </a:extLst>
                </p:cNvPr>
                <p:cNvGrpSpPr/>
                <p:nvPr/>
              </p:nvGrpSpPr>
              <p:grpSpPr>
                <a:xfrm>
                  <a:off x="4586453" y="2877375"/>
                  <a:ext cx="1075710" cy="1075710"/>
                  <a:chOff x="4678421" y="2934576"/>
                  <a:chExt cx="1097280" cy="1097280"/>
                </a:xfrm>
              </p:grpSpPr>
              <p:sp>
                <p:nvSpPr>
                  <p:cNvPr id="72" name="Oval 71">
                    <a:extLst>
                      <a:ext uri="{FF2B5EF4-FFF2-40B4-BE49-F238E27FC236}">
                        <a16:creationId xmlns:a16="http://schemas.microsoft.com/office/drawing/2014/main" id="{6BCB59D9-7935-4F99-921E-A0780D6CA14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3" name="Picture 72">
                    <a:extLst>
                      <a:ext uri="{FF2B5EF4-FFF2-40B4-BE49-F238E27FC236}">
                        <a16:creationId xmlns:a16="http://schemas.microsoft.com/office/drawing/2014/main" id="{FB67341E-D5ED-422A-B1B9-9006EBF9C3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4" name="Group 73">
                  <a:extLst>
                    <a:ext uri="{FF2B5EF4-FFF2-40B4-BE49-F238E27FC236}">
                      <a16:creationId xmlns:a16="http://schemas.microsoft.com/office/drawing/2014/main" id="{9AE152EF-46CB-4AD1-8C8E-73F3CE7FD165}"/>
                    </a:ext>
                  </a:extLst>
                </p:cNvPr>
                <p:cNvGrpSpPr/>
                <p:nvPr/>
              </p:nvGrpSpPr>
              <p:grpSpPr>
                <a:xfrm>
                  <a:off x="6532159" y="2877375"/>
                  <a:ext cx="1075710" cy="1075710"/>
                  <a:chOff x="6663142" y="2934576"/>
                  <a:chExt cx="1097280" cy="1097280"/>
                </a:xfrm>
              </p:grpSpPr>
              <p:sp>
                <p:nvSpPr>
                  <p:cNvPr id="75" name="Oval 74">
                    <a:extLst>
                      <a:ext uri="{FF2B5EF4-FFF2-40B4-BE49-F238E27FC236}">
                        <a16:creationId xmlns:a16="http://schemas.microsoft.com/office/drawing/2014/main" id="{66C2DE71-0251-41A4-820E-E054D8CD3DD7}"/>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6" name="Picture 75">
                    <a:extLst>
                      <a:ext uri="{FF2B5EF4-FFF2-40B4-BE49-F238E27FC236}">
                        <a16:creationId xmlns:a16="http://schemas.microsoft.com/office/drawing/2014/main" id="{E45145AF-D941-42F3-9EEE-A79D940D92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7" name="Group 76">
                  <a:extLst>
                    <a:ext uri="{FF2B5EF4-FFF2-40B4-BE49-F238E27FC236}">
                      <a16:creationId xmlns:a16="http://schemas.microsoft.com/office/drawing/2014/main" id="{356DAF8E-89B1-4760-9B8F-70C97C8B2E1C}"/>
                    </a:ext>
                  </a:extLst>
                </p:cNvPr>
                <p:cNvGrpSpPr/>
                <p:nvPr/>
              </p:nvGrpSpPr>
              <p:grpSpPr>
                <a:xfrm>
                  <a:off x="8482009" y="2877375"/>
                  <a:ext cx="1075710" cy="1075710"/>
                  <a:chOff x="8652091" y="2934576"/>
                  <a:chExt cx="1097280" cy="1097280"/>
                </a:xfrm>
              </p:grpSpPr>
              <p:sp>
                <p:nvSpPr>
                  <p:cNvPr id="78" name="Oval 77">
                    <a:extLst>
                      <a:ext uri="{FF2B5EF4-FFF2-40B4-BE49-F238E27FC236}">
                        <a16:creationId xmlns:a16="http://schemas.microsoft.com/office/drawing/2014/main" id="{DC6FDB43-F109-4752-B216-5E88A370CF88}"/>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9" name="Picture 78">
                    <a:extLst>
                      <a:ext uri="{FF2B5EF4-FFF2-40B4-BE49-F238E27FC236}">
                        <a16:creationId xmlns:a16="http://schemas.microsoft.com/office/drawing/2014/main" id="{FE935B43-20C9-4DF8-BCD4-64176FF416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80" name="Group 79">
                  <a:extLst>
                    <a:ext uri="{FF2B5EF4-FFF2-40B4-BE49-F238E27FC236}">
                      <a16:creationId xmlns:a16="http://schemas.microsoft.com/office/drawing/2014/main" id="{C5A076B6-6873-4494-8A0B-3AC9B12565CC}"/>
                    </a:ext>
                  </a:extLst>
                </p:cNvPr>
                <p:cNvGrpSpPr/>
                <p:nvPr/>
              </p:nvGrpSpPr>
              <p:grpSpPr>
                <a:xfrm>
                  <a:off x="10423569" y="2877375"/>
                  <a:ext cx="1075710" cy="1075710"/>
                  <a:chOff x="10632583" y="2934576"/>
                  <a:chExt cx="1097280" cy="1097280"/>
                </a:xfrm>
              </p:grpSpPr>
              <p:sp>
                <p:nvSpPr>
                  <p:cNvPr id="81" name="Oval 80">
                    <a:extLst>
                      <a:ext uri="{FF2B5EF4-FFF2-40B4-BE49-F238E27FC236}">
                        <a16:creationId xmlns:a16="http://schemas.microsoft.com/office/drawing/2014/main" id="{AEB5E3B2-A55F-4783-8BE2-05F991E1EF06}"/>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2" name="Picture 81">
                    <a:extLst>
                      <a:ext uri="{FF2B5EF4-FFF2-40B4-BE49-F238E27FC236}">
                        <a16:creationId xmlns:a16="http://schemas.microsoft.com/office/drawing/2014/main" id="{AF2FC403-61A1-44FD-8A9B-A1D50527D9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grpSp>
      <p:sp>
        <p:nvSpPr>
          <p:cNvPr id="41" name="Rectangle 40">
            <a:extLst>
              <a:ext uri="{FF2B5EF4-FFF2-40B4-BE49-F238E27FC236}">
                <a16:creationId xmlns:a16="http://schemas.microsoft.com/office/drawing/2014/main" id="{9B20F9EF-3ECE-4922-B5C5-E83DCFEAAEB2}"/>
              </a:ext>
            </a:extLst>
          </p:cNvPr>
          <p:cNvSpPr/>
          <p:nvPr/>
        </p:nvSpPr>
        <p:spPr>
          <a:xfrm>
            <a:off x="322573" y="1096596"/>
            <a:ext cx="7291232" cy="1088989"/>
          </a:xfrm>
          <a:prstGeom prst="rect">
            <a:avLst/>
          </a:prstGeom>
        </p:spPr>
        <p:txBody>
          <a:bodyPr wrap="square" anchor="ctr">
            <a:spAutoFit/>
          </a:bodyPr>
          <a:lstStyle/>
          <a:p>
            <a:pPr marL="0" marR="0" lvl="0" indent="0" algn="l" defTabSz="895429" rtl="0" eaLnBrk="1" fontAlgn="auto" latinLnBrk="0" hangingPunct="1">
              <a:lnSpc>
                <a:spcPct val="90000"/>
              </a:lnSpc>
              <a:spcBef>
                <a:spcPts val="0"/>
              </a:spcBef>
              <a:spcAft>
                <a:spcPts val="0"/>
              </a:spcAft>
              <a:buClrTx/>
              <a:buSzTx/>
              <a:buFontTx/>
              <a:buNone/>
              <a:tabLst/>
              <a:defRPr/>
            </a:pPr>
            <a:r>
              <a:rPr kumimoji="0" lang="en-US" altLang="en-US" sz="4311"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Light"/>
                <a:ea typeface="+mn-ea"/>
                <a:cs typeface="+mn-cs"/>
              </a:rPr>
              <a:t>Microsoft Cognitive Services</a:t>
            </a:r>
          </a:p>
          <a:p>
            <a:pPr marL="0" marR="0" lvl="0" indent="0" algn="l" defTabSz="895601" rtl="0" eaLnBrk="1" fontAlgn="auto" latinLnBrk="0" hangingPunct="1">
              <a:lnSpc>
                <a:spcPct val="90000"/>
              </a:lnSpc>
              <a:spcBef>
                <a:spcPts val="0"/>
              </a:spcBef>
              <a:spcAft>
                <a:spcPts val="1440"/>
              </a:spcAft>
              <a:buClrTx/>
              <a:buSzTx/>
              <a:buFontTx/>
              <a:buNone/>
              <a:tabLst/>
              <a:defRPr/>
            </a:pPr>
            <a:r>
              <a:rPr kumimoji="0" lang="en-US" sz="2744"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Semilight"/>
                <a:ea typeface="+mn-ea"/>
                <a:cs typeface="+mn-cs"/>
              </a:rPr>
              <a:t>Commoditized AI</a:t>
            </a:r>
          </a:p>
        </p:txBody>
      </p:sp>
      <p:sp>
        <p:nvSpPr>
          <p:cNvPr id="22" name="Rectangle 21">
            <a:extLst>
              <a:ext uri="{FF2B5EF4-FFF2-40B4-BE49-F238E27FC236}">
                <a16:creationId xmlns:a16="http://schemas.microsoft.com/office/drawing/2014/main" id="{783D0527-B5A1-46EA-BF75-DE500132D537}"/>
              </a:ext>
            </a:extLst>
          </p:cNvPr>
          <p:cNvSpPr/>
          <p:nvPr/>
        </p:nvSpPr>
        <p:spPr>
          <a:xfrm>
            <a:off x="206968" y="3094694"/>
            <a:ext cx="2065033" cy="1978979"/>
          </a:xfrm>
          <a:prstGeom prst="rect">
            <a:avLst/>
          </a:prstGeom>
        </p:spPr>
        <p:txBody>
          <a:bodyPr wrap="square">
            <a:spAutoFit/>
          </a:body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r Vision</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ntent Moderator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Emotion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Face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Video Indexer</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Vision Service</a:t>
            </a:r>
          </a:p>
        </p:txBody>
      </p:sp>
      <p:sp>
        <p:nvSpPr>
          <p:cNvPr id="23" name="Rectangle 22">
            <a:extLst>
              <a:ext uri="{FF2B5EF4-FFF2-40B4-BE49-F238E27FC236}">
                <a16:creationId xmlns:a16="http://schemas.microsoft.com/office/drawing/2014/main" id="{24A98663-CEF7-4FEB-ABD7-903ED71EE06B}"/>
              </a:ext>
            </a:extLst>
          </p:cNvPr>
          <p:cNvSpPr/>
          <p:nvPr/>
        </p:nvSpPr>
        <p:spPr>
          <a:xfrm>
            <a:off x="9894923" y="3094693"/>
            <a:ext cx="2119430" cy="2971519"/>
          </a:xfrm>
          <a:prstGeom prst="rect">
            <a:avLst/>
          </a:prstGeom>
        </p:spPr>
        <p:txBody>
          <a:bodyPr wrap="square">
            <a:spAutoFit/>
          </a:body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Prague (gesture)</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Cuzco (event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Johannesburg (routing)</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Nanjing (isochrone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Abu Dhabi (distance matrix)</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164894" y="3094692"/>
            <a:ext cx="1725934" cy="248939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Autosuggest</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Image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News Sear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Video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Web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Entity Sear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Custom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064744" y="3094693"/>
            <a:ext cx="2034097" cy="236115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cademic Knowledge</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Entity Linking</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nowledge Exploration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commendation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QnA Maker</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Decision Service</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156375" y="3094693"/>
            <a:ext cx="1953397" cy="289630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Spell Check</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inguistic Analysi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ext Analytic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ranslator Text </a:t>
            </a:r>
            <a:b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mp; Spee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eb Language Model</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nguage Understanding </a:t>
            </a:r>
          </a:p>
          <a:p>
            <a:pPr marL="0" marR="0" lvl="0" indent="0" algn="ctr" defTabSz="913690" rtl="0" eaLnBrk="1" fontAlgn="auto" latinLnBrk="0" hangingPunct="1">
              <a:lnSpc>
                <a:spcPct val="90000"/>
              </a:lnSpc>
              <a:spcBef>
                <a:spcPts val="0"/>
              </a:spcBef>
              <a:spcAft>
                <a:spcPts val="1400"/>
              </a:spcAft>
              <a:buClrTx/>
              <a:buSzTx/>
              <a:buFontTx/>
              <a:buNone/>
              <a:tabLst/>
              <a:defRPr/>
            </a:pPr>
            <a:endPar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9" name="TextBox 28">
            <a:extLst>
              <a:ext uri="{FF2B5EF4-FFF2-40B4-BE49-F238E27FC236}">
                <a16:creationId xmlns:a16="http://schemas.microsoft.com/office/drawing/2014/main" id="{B657DF13-1FA1-49C7-907E-5403C8DF564F}"/>
              </a:ext>
            </a:extLst>
          </p:cNvPr>
          <p:cNvSpPr txBox="1"/>
          <p:nvPr/>
        </p:nvSpPr>
        <p:spPr>
          <a:xfrm>
            <a:off x="2265621" y="3085923"/>
            <a:ext cx="1866389" cy="136608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Spee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aker Recognition</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Speech Service</a:t>
            </a:r>
          </a:p>
        </p:txBody>
      </p:sp>
      <p:sp>
        <p:nvSpPr>
          <p:cNvPr id="5" name="Rectangle 4">
            <a:extLst>
              <a:ext uri="{FF2B5EF4-FFF2-40B4-BE49-F238E27FC236}">
                <a16:creationId xmlns:a16="http://schemas.microsoft.com/office/drawing/2014/main" id="{88A9F85D-A654-497F-96CE-7C776352D063}"/>
              </a:ext>
            </a:extLst>
          </p:cNvPr>
          <p:cNvSpPr/>
          <p:nvPr/>
        </p:nvSpPr>
        <p:spPr bwMode="auto">
          <a:xfrm>
            <a:off x="2453" y="6411217"/>
            <a:ext cx="12187096" cy="9700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00760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16000" decel="84000" fill="hold" grpId="0" nodeType="afterEffect">
                                  <p:stCondLst>
                                    <p:cond delay="0"/>
                                  </p:stCondLst>
                                  <p:childTnLst>
                                    <p:animMotion origin="layout" path="M -6.25E-7 -3.7037E-7 L -0.00273 -0.11643 " pathEditMode="relative" rAng="0" ptsTypes="AA">
                                      <p:cBhvr>
                                        <p:cTn id="6" dur="750" fill="hold"/>
                                        <p:tgtEl>
                                          <p:spTgt spid="41"/>
                                        </p:tgtEl>
                                        <p:attrNameLst>
                                          <p:attrName>ppt_x</p:attrName>
                                          <p:attrName>ppt_y</p:attrName>
                                        </p:attrNameLst>
                                      </p:cBhvr>
                                      <p:rCtr x="-143" y="-5833"/>
                                    </p:animMotion>
                                  </p:childTnLst>
                                </p:cTn>
                              </p:par>
                              <p:par>
                                <p:cTn id="7" presetID="64" presetClass="path" presetSubtype="0" accel="12000" decel="86667" fill="hold" nodeType="withEffect">
                                  <p:stCondLst>
                                    <p:cond delay="0"/>
                                  </p:stCondLst>
                                  <p:childTnLst>
                                    <p:animMotion origin="layout" path="M 0 3.33333E-6 L 0 -0.20787 " pathEditMode="relative" rAng="0" ptsTypes="AA">
                                      <p:cBhvr>
                                        <p:cTn id="8" dur="750" fill="hold"/>
                                        <p:tgtEl>
                                          <p:spTgt spid="14"/>
                                        </p:tgtEl>
                                        <p:attrNameLst>
                                          <p:attrName>ppt_x</p:attrName>
                                          <p:attrName>ppt_y</p:attrName>
                                        </p:attrNameLst>
                                      </p:cBhvr>
                                      <p:rCtr x="0" y="-10394"/>
                                    </p:animMotion>
                                  </p:childTnLst>
                                </p:cTn>
                              </p:par>
                            </p:childTnLst>
                          </p:cTn>
                        </p:par>
                        <p:par>
                          <p:cTn id="9" fill="hold">
                            <p:stCondLst>
                              <p:cond delay="750"/>
                            </p:stCondLst>
                            <p:childTnLst>
                              <p:par>
                                <p:cTn id="10" presetID="2" presetClass="entr" presetSubtype="4"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fill="hold"/>
                                        <p:tgtEl>
                                          <p:spTgt spid="25"/>
                                        </p:tgtEl>
                                        <p:attrNameLst>
                                          <p:attrName>ppt_x</p:attrName>
                                        </p:attrNameLst>
                                      </p:cBhvr>
                                      <p:tavLst>
                                        <p:tav tm="0">
                                          <p:val>
                                            <p:strVal val="#ppt_x"/>
                                          </p:val>
                                        </p:tav>
                                        <p:tav tm="100000">
                                          <p:val>
                                            <p:strVal val="#ppt_x"/>
                                          </p:val>
                                        </p:tav>
                                      </p:tavLst>
                                    </p:anim>
                                    <p:anim calcmode="lin" valueType="num">
                                      <p:cBhvr additive="base">
                                        <p:cTn id="25" dur="500" fill="hold"/>
                                        <p:tgtEl>
                                          <p:spTgt spid="25"/>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additive="base">
                                        <p:cTn id="28" dur="500" fill="hold"/>
                                        <p:tgtEl>
                                          <p:spTgt spid="24"/>
                                        </p:tgtEl>
                                        <p:attrNameLst>
                                          <p:attrName>ppt_x</p:attrName>
                                        </p:attrNameLst>
                                      </p:cBhvr>
                                      <p:tavLst>
                                        <p:tav tm="0">
                                          <p:val>
                                            <p:strVal val="#ppt_x"/>
                                          </p:val>
                                        </p:tav>
                                        <p:tav tm="100000">
                                          <p:val>
                                            <p:strVal val="#ppt_x"/>
                                          </p:val>
                                        </p:tav>
                                      </p:tavLst>
                                    </p:anim>
                                    <p:anim calcmode="lin" valueType="num">
                                      <p:cBhvr additive="base">
                                        <p:cTn id="29" dur="500" fill="hold"/>
                                        <p:tgtEl>
                                          <p:spTgt spid="24"/>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2" grpId="0" uiExpand="1"/>
      <p:bldP spid="23" grpId="0" uiExpand="1"/>
      <p:bldP spid="24" grpId="0" uiExpand="1"/>
      <p:bldP spid="25" grpId="0" uiExpand="1"/>
      <p:bldP spid="26" grpId="0" uiExpand="1"/>
      <p:bldP spid="29" grpId="0" uiExpan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idx="4294967295"/>
          </p:nvPr>
        </p:nvSpPr>
        <p:spPr>
          <a:xfrm>
            <a:off x="838200" y="2084388"/>
            <a:ext cx="11353800" cy="1514475"/>
          </a:xfrm>
        </p:spPr>
        <p:txBody>
          <a:bodyPr/>
          <a:lstStyle/>
          <a:p>
            <a:r>
              <a:rPr lang="en-US" sz="4800" dirty="0"/>
              <a:t>Custom Machine Learning:</a:t>
            </a:r>
            <a:br>
              <a:rPr lang="en-US" sz="4800" dirty="0"/>
            </a:br>
            <a:r>
              <a:rPr lang="en-US" sz="4800" dirty="0"/>
              <a:t>Using ML.NET </a:t>
            </a:r>
          </a:p>
        </p:txBody>
      </p:sp>
    </p:spTree>
    <p:extLst>
      <p:ext uri="{BB962C8B-B14F-4D97-AF65-F5344CB8AC3E}">
        <p14:creationId xmlns:p14="http://schemas.microsoft.com/office/powerpoint/2010/main" val="234577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91772" y="1978904"/>
            <a:ext cx="10817225" cy="885825"/>
          </a:xfrm>
        </p:spPr>
        <p:txBody>
          <a:bodyPr/>
          <a:lstStyle/>
          <a:p>
            <a:r>
              <a:rPr lang="en-US" sz="3200" dirty="0">
                <a:solidFill>
                  <a:srgbClr val="231F20"/>
                </a:solidFill>
              </a:rPr>
              <a:t>Is pre-trained/pre-built Machine Learning enough for you?</a:t>
            </a:r>
            <a:br>
              <a:rPr lang="en-US" sz="3200" dirty="0">
                <a:solidFill>
                  <a:srgbClr val="231F20"/>
                </a:solidFill>
              </a:rPr>
            </a:br>
            <a:r>
              <a:rPr lang="en-US" sz="3200" dirty="0">
                <a:solidFill>
                  <a:srgbClr val="231F20"/>
                </a:solidFill>
                <a:latin typeface="Segoe UI Light" panose="020B0502040204020203" pitchFamily="34" charset="0"/>
                <a:cs typeface="Segoe UI Light" panose="020B0502040204020203" pitchFamily="34" charset="0"/>
              </a:rPr>
              <a:t>i.e. Azure Cognitive Services, etc. </a:t>
            </a:r>
          </a:p>
        </p:txBody>
      </p:sp>
      <p:sp>
        <p:nvSpPr>
          <p:cNvPr id="3" name="Rectangle 2">
            <a:extLst>
              <a:ext uri="{FF2B5EF4-FFF2-40B4-BE49-F238E27FC236}">
                <a16:creationId xmlns:a16="http://schemas.microsoft.com/office/drawing/2014/main" id="{7D64F46D-D4F1-4188-A472-EF6DCE757F39}"/>
              </a:ext>
            </a:extLst>
          </p:cNvPr>
          <p:cNvSpPr/>
          <p:nvPr/>
        </p:nvSpPr>
        <p:spPr>
          <a:xfrm>
            <a:off x="2666289" y="3597083"/>
            <a:ext cx="4836580"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231F20"/>
                </a:solidFill>
                <a:effectLst/>
                <a:uLnTx/>
                <a:uFillTx/>
                <a:latin typeface="Segoe UI Light" panose="020B0502040204020203" pitchFamily="34" charset="0"/>
                <a:ea typeface="+mn-ea"/>
                <a:cs typeface="Segoe UI Light" panose="020B0502040204020203" pitchFamily="34" charset="0"/>
              </a:rPr>
              <a:t>As always.. the answer is… :</a:t>
            </a:r>
            <a:endParaRPr kumimoji="0" lang="en-US" sz="2800" b="0" i="1" u="none" strike="noStrike" kern="1200" cap="none" spc="0" normalizeH="0" baseline="0" noProof="0" dirty="0">
              <a:ln>
                <a:noFill/>
              </a:ln>
              <a:solidFill>
                <a:srgbClr val="231F20"/>
              </a:solidFill>
              <a:effectLst/>
              <a:uLnTx/>
              <a:uFillTx/>
              <a:latin typeface="Segoe UI"/>
              <a:ea typeface="+mn-ea"/>
            </a:endParaRPr>
          </a:p>
        </p:txBody>
      </p:sp>
      <p:sp>
        <p:nvSpPr>
          <p:cNvPr id="4" name="Rectangle 3">
            <a:extLst>
              <a:ext uri="{FF2B5EF4-FFF2-40B4-BE49-F238E27FC236}">
                <a16:creationId xmlns:a16="http://schemas.microsoft.com/office/drawing/2014/main" id="{732C016D-069D-475E-9FAB-C3613354E4DC}"/>
              </a:ext>
            </a:extLst>
          </p:cNvPr>
          <p:cNvSpPr/>
          <p:nvPr/>
        </p:nvSpPr>
        <p:spPr>
          <a:xfrm>
            <a:off x="7956746" y="3597083"/>
            <a:ext cx="2783134"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231F20"/>
                </a:solidFill>
                <a:effectLst/>
                <a:uLnTx/>
                <a:uFillTx/>
                <a:latin typeface="Segoe UI Light" panose="020B0502040204020203" pitchFamily="34" charset="0"/>
                <a:ea typeface="+mn-ea"/>
                <a:cs typeface="Segoe UI Light" panose="020B0502040204020203" pitchFamily="34" charset="0"/>
              </a:rPr>
              <a:t>“It depends…” ;)</a:t>
            </a:r>
            <a:endParaRPr kumimoji="0" lang="en-US" sz="2800" b="0" i="1" u="none" strike="noStrike" kern="1200" cap="none" spc="0" normalizeH="0" baseline="0" noProof="0" dirty="0">
              <a:ln>
                <a:noFill/>
              </a:ln>
              <a:solidFill>
                <a:srgbClr val="231F20"/>
              </a:solidFill>
              <a:effectLst/>
              <a:uLnTx/>
              <a:uFillTx/>
              <a:latin typeface="Segoe UI"/>
              <a:ea typeface="+mn-ea"/>
            </a:endParaRPr>
          </a:p>
        </p:txBody>
      </p:sp>
    </p:spTree>
    <p:extLst>
      <p:ext uri="{BB962C8B-B14F-4D97-AF65-F5344CB8AC3E}">
        <p14:creationId xmlns:p14="http://schemas.microsoft.com/office/powerpoint/2010/main" val="690916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F631A98-535B-4FE3-BAA6-66D37B1641C2}"/>
              </a:ext>
            </a:extLst>
          </p:cNvPr>
          <p:cNvSpPr/>
          <p:nvPr/>
        </p:nvSpPr>
        <p:spPr>
          <a:xfrm>
            <a:off x="4785272" y="1886545"/>
            <a:ext cx="6843782" cy="3517235"/>
          </a:xfrm>
          <a:prstGeom prst="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908299"/>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pic>
        <p:nvPicPr>
          <p:cNvPr id="40" name="Picture 39">
            <a:extLst>
              <a:ext uri="{FF2B5EF4-FFF2-40B4-BE49-F238E27FC236}">
                <a16:creationId xmlns:a16="http://schemas.microsoft.com/office/drawing/2014/main" id="{11440017-439C-491F-AF33-3D1A4D04F1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424" y="1640546"/>
            <a:ext cx="998256" cy="1001934"/>
          </a:xfrm>
          <a:prstGeom prst="ellipse">
            <a:avLst/>
          </a:prstGeom>
        </p:spPr>
      </p:pic>
      <p:pic>
        <p:nvPicPr>
          <p:cNvPr id="42" name="Picture 41">
            <a:extLst>
              <a:ext uri="{FF2B5EF4-FFF2-40B4-BE49-F238E27FC236}">
                <a16:creationId xmlns:a16="http://schemas.microsoft.com/office/drawing/2014/main" id="{50D6EB37-689C-4DB5-9862-7B58B7E4C9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75361" y="1640546"/>
            <a:ext cx="912942" cy="916306"/>
          </a:xfrm>
          <a:prstGeom prst="ellipse">
            <a:avLst/>
          </a:prstGeom>
        </p:spPr>
      </p:pic>
      <p:pic>
        <p:nvPicPr>
          <p:cNvPr id="45" name="Picture 44">
            <a:extLst>
              <a:ext uri="{FF2B5EF4-FFF2-40B4-BE49-F238E27FC236}">
                <a16:creationId xmlns:a16="http://schemas.microsoft.com/office/drawing/2014/main" id="{D602B17B-B7D9-44A1-B727-8816459AA8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35715" y="2661622"/>
            <a:ext cx="1040335" cy="1044169"/>
          </a:xfrm>
          <a:prstGeom prst="ellipse">
            <a:avLst/>
          </a:prstGeom>
        </p:spPr>
      </p:pic>
      <p:pic>
        <p:nvPicPr>
          <p:cNvPr id="46" name="Picture 45">
            <a:extLst>
              <a:ext uri="{FF2B5EF4-FFF2-40B4-BE49-F238E27FC236}">
                <a16:creationId xmlns:a16="http://schemas.microsoft.com/office/drawing/2014/main" id="{CBBA789E-3792-44FB-A0E7-A037D95796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82273" y="2722248"/>
            <a:ext cx="919527" cy="922915"/>
          </a:xfrm>
          <a:prstGeom prst="ellipse">
            <a:avLst/>
          </a:prstGeom>
        </p:spPr>
      </p:pic>
      <p:pic>
        <p:nvPicPr>
          <p:cNvPr id="47" name="Picture 46">
            <a:extLst>
              <a:ext uri="{FF2B5EF4-FFF2-40B4-BE49-F238E27FC236}">
                <a16:creationId xmlns:a16="http://schemas.microsoft.com/office/drawing/2014/main" id="{ED385F5A-2A70-4AE3-93A7-FCBE1D40664E}"/>
              </a:ext>
            </a:extLst>
          </p:cNvPr>
          <p:cNvPicPr>
            <a:picLocks noChangeAspect="1"/>
          </p:cNvPicPr>
          <p:nvPr/>
        </p:nvPicPr>
        <p:blipFill>
          <a:blip r:embed="rId7"/>
          <a:stretch>
            <a:fillRect/>
          </a:stretch>
        </p:blipFill>
        <p:spPr>
          <a:xfrm>
            <a:off x="1754994" y="1798139"/>
            <a:ext cx="949767" cy="685593"/>
          </a:xfrm>
          <a:prstGeom prst="rect">
            <a:avLst/>
          </a:prstGeom>
        </p:spPr>
      </p:pic>
      <p:sp>
        <p:nvSpPr>
          <p:cNvPr id="48" name="TextBox 47">
            <a:extLst>
              <a:ext uri="{FF2B5EF4-FFF2-40B4-BE49-F238E27FC236}">
                <a16:creationId xmlns:a16="http://schemas.microsoft.com/office/drawing/2014/main" id="{53FCAC34-37ED-4AD5-AA1B-1D9903DDFCD4}"/>
              </a:ext>
            </a:extLst>
          </p:cNvPr>
          <p:cNvSpPr txBox="1"/>
          <p:nvPr/>
        </p:nvSpPr>
        <p:spPr>
          <a:xfrm>
            <a:off x="699944" y="2394184"/>
            <a:ext cx="6912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Vision</a:t>
            </a:r>
          </a:p>
        </p:txBody>
      </p:sp>
      <p:sp>
        <p:nvSpPr>
          <p:cNvPr id="49" name="TextBox 48">
            <a:extLst>
              <a:ext uri="{FF2B5EF4-FFF2-40B4-BE49-F238E27FC236}">
                <a16:creationId xmlns:a16="http://schemas.microsoft.com/office/drawing/2014/main" id="{150E727E-3293-4B10-8023-480371471223}"/>
              </a:ext>
            </a:extLst>
          </p:cNvPr>
          <p:cNvSpPr txBox="1"/>
          <p:nvPr/>
        </p:nvSpPr>
        <p:spPr>
          <a:xfrm>
            <a:off x="1915280" y="2407214"/>
            <a:ext cx="78579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peech</a:t>
            </a:r>
          </a:p>
        </p:txBody>
      </p:sp>
      <p:sp>
        <p:nvSpPr>
          <p:cNvPr id="50" name="TextBox 49">
            <a:extLst>
              <a:ext uri="{FF2B5EF4-FFF2-40B4-BE49-F238E27FC236}">
                <a16:creationId xmlns:a16="http://schemas.microsoft.com/office/drawing/2014/main" id="{3B935D75-7D83-4E2E-82D9-A15B80C910AF}"/>
              </a:ext>
            </a:extLst>
          </p:cNvPr>
          <p:cNvSpPr txBox="1"/>
          <p:nvPr/>
        </p:nvSpPr>
        <p:spPr>
          <a:xfrm>
            <a:off x="3047540" y="2411335"/>
            <a:ext cx="97481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anguage</a:t>
            </a:r>
          </a:p>
        </p:txBody>
      </p:sp>
      <p:sp>
        <p:nvSpPr>
          <p:cNvPr id="51" name="TextBox 50">
            <a:extLst>
              <a:ext uri="{FF2B5EF4-FFF2-40B4-BE49-F238E27FC236}">
                <a16:creationId xmlns:a16="http://schemas.microsoft.com/office/drawing/2014/main" id="{D685F66D-A6FD-4B2C-8B5B-FC7CFE330660}"/>
              </a:ext>
            </a:extLst>
          </p:cNvPr>
          <p:cNvSpPr txBox="1"/>
          <p:nvPr/>
        </p:nvSpPr>
        <p:spPr>
          <a:xfrm>
            <a:off x="1835715" y="3616540"/>
            <a:ext cx="110543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Knowledge</a:t>
            </a:r>
          </a:p>
        </p:txBody>
      </p:sp>
      <p:sp>
        <p:nvSpPr>
          <p:cNvPr id="52" name="TextBox 51">
            <a:extLst>
              <a:ext uri="{FF2B5EF4-FFF2-40B4-BE49-F238E27FC236}">
                <a16:creationId xmlns:a16="http://schemas.microsoft.com/office/drawing/2014/main" id="{8B466AC7-9BCC-4D02-AA11-CD901152C3CB}"/>
              </a:ext>
            </a:extLst>
          </p:cNvPr>
          <p:cNvSpPr txBox="1"/>
          <p:nvPr/>
        </p:nvSpPr>
        <p:spPr>
          <a:xfrm>
            <a:off x="3227097" y="3614210"/>
            <a:ext cx="742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earch</a:t>
            </a:r>
          </a:p>
        </p:txBody>
      </p:sp>
      <p:grpSp>
        <p:nvGrpSpPr>
          <p:cNvPr id="53" name="Group 52">
            <a:extLst>
              <a:ext uri="{FF2B5EF4-FFF2-40B4-BE49-F238E27FC236}">
                <a16:creationId xmlns:a16="http://schemas.microsoft.com/office/drawing/2014/main" id="{65E2D970-F915-4647-898D-245494F12C86}"/>
              </a:ext>
            </a:extLst>
          </p:cNvPr>
          <p:cNvGrpSpPr/>
          <p:nvPr/>
        </p:nvGrpSpPr>
        <p:grpSpPr>
          <a:xfrm>
            <a:off x="427330" y="2661622"/>
            <a:ext cx="1165424" cy="1165424"/>
            <a:chOff x="10495195" y="2941204"/>
            <a:chExt cx="1165754" cy="1165754"/>
          </a:xfrm>
          <a:noFill/>
        </p:grpSpPr>
        <p:sp>
          <p:nvSpPr>
            <p:cNvPr id="54" name="Oval 53">
              <a:extLst>
                <a:ext uri="{FF2B5EF4-FFF2-40B4-BE49-F238E27FC236}">
                  <a16:creationId xmlns:a16="http://schemas.microsoft.com/office/drawing/2014/main" id="{DAFC7EF6-1A04-447F-9F8F-F65375A8050D}"/>
                </a:ext>
              </a:extLst>
            </p:cNvPr>
            <p:cNvSpPr/>
            <p:nvPr/>
          </p:nvSpPr>
          <p:spPr bwMode="auto">
            <a:xfrm>
              <a:off x="10495195" y="2941204"/>
              <a:ext cx="1165754" cy="1165754"/>
            </a:xfrm>
            <a:prstGeom prst="ellipse">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195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Freeform 5">
              <a:extLst>
                <a:ext uri="{FF2B5EF4-FFF2-40B4-BE49-F238E27FC236}">
                  <a16:creationId xmlns:a16="http://schemas.microsoft.com/office/drawing/2014/main" id="{C4010DAB-B2BA-48FA-9549-1A18725D220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rgbClr val="0063B1"/>
              </a:solidFill>
              <a:prstDash val="solid"/>
              <a:miter lim="800000"/>
              <a:headEnd/>
              <a:tailEnd/>
            </a:ln>
            <a:extLst/>
          </p:spPr>
          <p:txBody>
            <a:bodyPr vert="horz" wrap="square" lIns="91415" tIns="45707" rIns="91415" bIns="45707" numCol="1" anchor="t" anchorCtr="0" compatLnSpc="1">
              <a:prstTxWarp prst="textNoShape">
                <a:avLst/>
              </a:prstTxWarp>
            </a:bodyPr>
            <a:lstStyle/>
            <a:p>
              <a:pPr marL="0" marR="0" lvl="0" indent="0" algn="l" defTabSz="9323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0BED26B0-0885-4322-86B9-5F567CB9971F}"/>
              </a:ext>
            </a:extLst>
          </p:cNvPr>
          <p:cNvSpPr txBox="1"/>
          <p:nvPr/>
        </p:nvSpPr>
        <p:spPr>
          <a:xfrm>
            <a:off x="732273" y="3594474"/>
            <a:ext cx="55553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abs</a:t>
            </a:r>
          </a:p>
        </p:txBody>
      </p:sp>
      <p:sp>
        <p:nvSpPr>
          <p:cNvPr id="3" name="Rectangle 2">
            <a:extLst>
              <a:ext uri="{FF2B5EF4-FFF2-40B4-BE49-F238E27FC236}">
                <a16:creationId xmlns:a16="http://schemas.microsoft.com/office/drawing/2014/main" id="{82CB9877-D91B-4D95-AEFF-9190EF1259CB}"/>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cxnSp>
        <p:nvCxnSpPr>
          <p:cNvPr id="7" name="Straight Connector 6">
            <a:extLst>
              <a:ext uri="{FF2B5EF4-FFF2-40B4-BE49-F238E27FC236}">
                <a16:creationId xmlns:a16="http://schemas.microsoft.com/office/drawing/2014/main" id="{E2FC1E2C-9B1F-4630-8481-3AC33906D497}"/>
              </a:ext>
            </a:extLst>
          </p:cNvPr>
          <p:cNvCxnSpPr/>
          <p:nvPr/>
        </p:nvCxnSpPr>
        <p:spPr>
          <a:xfrm>
            <a:off x="1557513" y="4136756"/>
            <a:ext cx="15176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0C1D5C-DBD8-40F5-B62E-329722598713}"/>
              </a:ext>
            </a:extLst>
          </p:cNvPr>
          <p:cNvSpPr txBox="1"/>
          <p:nvPr/>
        </p:nvSpPr>
        <p:spPr>
          <a:xfrm>
            <a:off x="1154439" y="4252614"/>
            <a:ext cx="243816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Consume (C#, VB, F#)</a:t>
            </a:r>
          </a:p>
        </p:txBody>
      </p:sp>
      <p:sp>
        <p:nvSpPr>
          <p:cNvPr id="6" name="Rectangle 5">
            <a:extLst>
              <a:ext uri="{FF2B5EF4-FFF2-40B4-BE49-F238E27FC236}">
                <a16:creationId xmlns:a16="http://schemas.microsoft.com/office/drawing/2014/main" id="{B950E181-CD8A-4AE8-BE18-E02AC9A2D3C3}"/>
              </a:ext>
            </a:extLst>
          </p:cNvPr>
          <p:cNvSpPr/>
          <p:nvPr/>
        </p:nvSpPr>
        <p:spPr>
          <a:xfrm>
            <a:off x="4634125" y="2033260"/>
            <a:ext cx="10936513" cy="33239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lient =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AzureReg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zureRegions.Westu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ubscriptionKey</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1bf33391DeadFish"</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entimen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Batch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en"</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0"</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C00000"/>
                </a:solidFill>
                <a:effectLst/>
                <a:uLnTx/>
                <a:uFillTx/>
                <a:latin typeface="Consolas" panose="020B0609020204030204" pitchFamily="49" charset="0"/>
                <a:ea typeface="+mn-ea"/>
                <a:cs typeface="+mn-cs"/>
              </a:rPr>
              <a:t>This is a great vacuum cleaner</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B799AAC-C3E4-4BB5-8ACD-475D741B7F6C}"/>
              </a:ext>
            </a:extLst>
          </p:cNvPr>
          <p:cNvSpPr/>
          <p:nvPr/>
        </p:nvSpPr>
        <p:spPr>
          <a:xfrm>
            <a:off x="4785272" y="1339874"/>
            <a:ext cx="56862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rPr>
              <a:t>e.g. Sentiment Analysis using Azure Cognitive Services</a:t>
            </a:r>
          </a:p>
        </p:txBody>
      </p:sp>
      <p:cxnSp>
        <p:nvCxnSpPr>
          <p:cNvPr id="29" name="Straight Connector 28">
            <a:extLst>
              <a:ext uri="{FF2B5EF4-FFF2-40B4-BE49-F238E27FC236}">
                <a16:creationId xmlns:a16="http://schemas.microsoft.com/office/drawing/2014/main" id="{DC94CFD7-B555-4EAC-841E-25ACBA307CD6}"/>
              </a:ext>
            </a:extLst>
          </p:cNvPr>
          <p:cNvCxnSpPr>
            <a:cxnSpLocks/>
          </p:cNvCxnSpPr>
          <p:nvPr/>
        </p:nvCxnSpPr>
        <p:spPr>
          <a:xfrm flipV="1">
            <a:off x="4389576" y="1485084"/>
            <a:ext cx="0" cy="3613083"/>
          </a:xfrm>
          <a:prstGeom prst="line">
            <a:avLst/>
          </a:prstGeom>
        </p:spPr>
        <p:style>
          <a:lnRef idx="1">
            <a:schemeClr val="accent2"/>
          </a:lnRef>
          <a:fillRef idx="0">
            <a:schemeClr val="accent2"/>
          </a:fillRef>
          <a:effectRef idx="0">
            <a:schemeClr val="accent2"/>
          </a:effectRef>
          <a:fontRef idx="minor">
            <a:schemeClr val="tx1"/>
          </a:fontRef>
        </p:style>
      </p:cxnSp>
      <p:sp>
        <p:nvSpPr>
          <p:cNvPr id="31" name="emoji" title="Icon of a face with a open mouthed smile">
            <a:extLst>
              <a:ext uri="{FF2B5EF4-FFF2-40B4-BE49-F238E27FC236}">
                <a16:creationId xmlns:a16="http://schemas.microsoft.com/office/drawing/2014/main" id="{13A6C4DE-83B3-415D-B420-F00E3DC04358}"/>
              </a:ext>
            </a:extLst>
          </p:cNvPr>
          <p:cNvSpPr>
            <a:spLocks noChangeAspect="1" noEditPoints="1"/>
          </p:cNvSpPr>
          <p:nvPr/>
        </p:nvSpPr>
        <p:spPr bwMode="auto">
          <a:xfrm>
            <a:off x="9472896" y="3726951"/>
            <a:ext cx="365760" cy="365760"/>
          </a:xfrm>
          <a:custGeom>
            <a:avLst/>
            <a:gdLst>
              <a:gd name="T0" fmla="*/ 0 w 342"/>
              <a:gd name="T1" fmla="*/ 171 h 342"/>
              <a:gd name="T2" fmla="*/ 171 w 342"/>
              <a:gd name="T3" fmla="*/ 0 h 342"/>
              <a:gd name="T4" fmla="*/ 342 w 342"/>
              <a:gd name="T5" fmla="*/ 171 h 342"/>
              <a:gd name="T6" fmla="*/ 171 w 342"/>
              <a:gd name="T7" fmla="*/ 342 h 342"/>
              <a:gd name="T8" fmla="*/ 0 w 342"/>
              <a:gd name="T9" fmla="*/ 171 h 342"/>
              <a:gd name="T10" fmla="*/ 265 w 342"/>
              <a:gd name="T11" fmla="*/ 150 h 342"/>
              <a:gd name="T12" fmla="*/ 219 w 342"/>
              <a:gd name="T13" fmla="*/ 156 h 342"/>
              <a:gd name="T14" fmla="*/ 176 w 342"/>
              <a:gd name="T15" fmla="*/ 169 h 342"/>
              <a:gd name="T16" fmla="*/ 171 w 342"/>
              <a:gd name="T17" fmla="*/ 170 h 342"/>
              <a:gd name="T18" fmla="*/ 166 w 342"/>
              <a:gd name="T19" fmla="*/ 169 h 342"/>
              <a:gd name="T20" fmla="*/ 123 w 342"/>
              <a:gd name="T21" fmla="*/ 156 h 342"/>
              <a:gd name="T22" fmla="*/ 77 w 342"/>
              <a:gd name="T23" fmla="*/ 150 h 342"/>
              <a:gd name="T24" fmla="*/ 170 w 342"/>
              <a:gd name="T25" fmla="*/ 277 h 342"/>
              <a:gd name="T26" fmla="*/ 172 w 342"/>
              <a:gd name="T27" fmla="*/ 277 h 342"/>
              <a:gd name="T28" fmla="*/ 265 w 342"/>
              <a:gd name="T29" fmla="*/ 150 h 342"/>
              <a:gd name="T30" fmla="*/ 118 w 342"/>
              <a:gd name="T31" fmla="*/ 102 h 342"/>
              <a:gd name="T32" fmla="*/ 104 w 342"/>
              <a:gd name="T33" fmla="*/ 87 h 342"/>
              <a:gd name="T34" fmla="*/ 89 w 342"/>
              <a:gd name="T35" fmla="*/ 102 h 342"/>
              <a:gd name="T36" fmla="*/ 118 w 342"/>
              <a:gd name="T37" fmla="*/ 102 h 342"/>
              <a:gd name="T38" fmla="*/ 253 w 342"/>
              <a:gd name="T39" fmla="*/ 102 h 342"/>
              <a:gd name="T40" fmla="*/ 239 w 342"/>
              <a:gd name="T41" fmla="*/ 87 h 342"/>
              <a:gd name="T42" fmla="*/ 224 w 342"/>
              <a:gd name="T43" fmla="*/ 102 h 342"/>
              <a:gd name="T44" fmla="*/ 253 w 342"/>
              <a:gd name="T45" fmla="*/ 10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 h="342">
                <a:moveTo>
                  <a:pt x="0" y="171"/>
                </a:moveTo>
                <a:cubicBezTo>
                  <a:pt x="0" y="77"/>
                  <a:pt x="77" y="0"/>
                  <a:pt x="171" y="0"/>
                </a:cubicBezTo>
                <a:cubicBezTo>
                  <a:pt x="266" y="0"/>
                  <a:pt x="342" y="77"/>
                  <a:pt x="342" y="171"/>
                </a:cubicBezTo>
                <a:cubicBezTo>
                  <a:pt x="342" y="266"/>
                  <a:pt x="266" y="342"/>
                  <a:pt x="171" y="342"/>
                </a:cubicBezTo>
                <a:cubicBezTo>
                  <a:pt x="77" y="342"/>
                  <a:pt x="0" y="266"/>
                  <a:pt x="0" y="171"/>
                </a:cubicBezTo>
                <a:close/>
                <a:moveTo>
                  <a:pt x="265" y="150"/>
                </a:moveTo>
                <a:cubicBezTo>
                  <a:pt x="259" y="145"/>
                  <a:pt x="258" y="137"/>
                  <a:pt x="219" y="156"/>
                </a:cubicBezTo>
                <a:cubicBezTo>
                  <a:pt x="198" y="165"/>
                  <a:pt x="185" y="168"/>
                  <a:pt x="176" y="169"/>
                </a:cubicBezTo>
                <a:cubicBezTo>
                  <a:pt x="176" y="169"/>
                  <a:pt x="175" y="169"/>
                  <a:pt x="171" y="170"/>
                </a:cubicBezTo>
                <a:cubicBezTo>
                  <a:pt x="167" y="169"/>
                  <a:pt x="166" y="169"/>
                  <a:pt x="166" y="169"/>
                </a:cubicBezTo>
                <a:cubicBezTo>
                  <a:pt x="157" y="168"/>
                  <a:pt x="144" y="165"/>
                  <a:pt x="123" y="156"/>
                </a:cubicBezTo>
                <a:cubicBezTo>
                  <a:pt x="84" y="137"/>
                  <a:pt x="83" y="145"/>
                  <a:pt x="77" y="150"/>
                </a:cubicBezTo>
                <a:cubicBezTo>
                  <a:pt x="71" y="154"/>
                  <a:pt x="46" y="268"/>
                  <a:pt x="170" y="277"/>
                </a:cubicBezTo>
                <a:cubicBezTo>
                  <a:pt x="172" y="277"/>
                  <a:pt x="172" y="277"/>
                  <a:pt x="172" y="277"/>
                </a:cubicBezTo>
                <a:cubicBezTo>
                  <a:pt x="296" y="268"/>
                  <a:pt x="272" y="154"/>
                  <a:pt x="265" y="150"/>
                </a:cubicBezTo>
                <a:close/>
                <a:moveTo>
                  <a:pt x="118" y="102"/>
                </a:moveTo>
                <a:cubicBezTo>
                  <a:pt x="118" y="93"/>
                  <a:pt x="112" y="87"/>
                  <a:pt x="104" y="87"/>
                </a:cubicBezTo>
                <a:cubicBezTo>
                  <a:pt x="95" y="87"/>
                  <a:pt x="89" y="93"/>
                  <a:pt x="89" y="102"/>
                </a:cubicBezTo>
                <a:lnTo>
                  <a:pt x="118" y="102"/>
                </a:lnTo>
                <a:close/>
                <a:moveTo>
                  <a:pt x="253" y="102"/>
                </a:moveTo>
                <a:cubicBezTo>
                  <a:pt x="253" y="93"/>
                  <a:pt x="247" y="87"/>
                  <a:pt x="239" y="87"/>
                </a:cubicBezTo>
                <a:cubicBezTo>
                  <a:pt x="230" y="87"/>
                  <a:pt x="224" y="93"/>
                  <a:pt x="224" y="102"/>
                </a:cubicBezTo>
                <a:lnTo>
                  <a:pt x="253" y="102"/>
                </a:lnTo>
                <a:close/>
              </a:path>
            </a:pathLst>
          </a:custGeom>
          <a:solidFill>
            <a:srgbClr val="FFC000"/>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8FCAE4E6-3032-4BEB-B829-4DEC3F930979}"/>
              </a:ext>
            </a:extLst>
          </p:cNvPr>
          <p:cNvSpPr txBox="1"/>
          <p:nvPr/>
        </p:nvSpPr>
        <p:spPr>
          <a:xfrm>
            <a:off x="9981358" y="3742640"/>
            <a:ext cx="143481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6% positive</a:t>
            </a:r>
          </a:p>
        </p:txBody>
      </p:sp>
      <p:sp>
        <p:nvSpPr>
          <p:cNvPr id="33" name="Title 1">
            <a:extLst>
              <a:ext uri="{FF2B5EF4-FFF2-40B4-BE49-F238E27FC236}">
                <a16:creationId xmlns:a16="http://schemas.microsoft.com/office/drawing/2014/main" id="{E12C86CC-3EAB-4EE4-8B53-FB75C1469A4B}"/>
              </a:ext>
            </a:extLst>
          </p:cNvPr>
          <p:cNvSpPr>
            <a:spLocks noGrp="1"/>
          </p:cNvSpPr>
          <p:nvPr>
            <p:ph type="title"/>
          </p:nvPr>
        </p:nvSpPr>
        <p:spPr>
          <a:xfrm>
            <a:off x="470978" y="-31489"/>
            <a:ext cx="11555771" cy="1325563"/>
          </a:xfrm>
        </p:spPr>
        <p:txBody>
          <a:bodyPr>
            <a:noAutofit/>
          </a:bodyPr>
          <a:lstStyle/>
          <a:p>
            <a:r>
              <a:rPr lang="en-US" spc="-100" dirty="0">
                <a:ln w="3175">
                  <a:noFill/>
                </a:ln>
                <a:latin typeface="Segoe UI Light" panose="020B0502040204020203" pitchFamily="34" charset="0"/>
                <a:cs typeface="Segoe UI Light" panose="020B0502040204020203" pitchFamily="34" charset="0"/>
              </a:rPr>
              <a:t>Pre-built ML Models (Azure Cognitive Services)</a:t>
            </a:r>
          </a:p>
        </p:txBody>
      </p:sp>
    </p:spTree>
    <p:extLst>
      <p:ext uri="{BB962C8B-B14F-4D97-AF65-F5344CB8AC3E}">
        <p14:creationId xmlns:p14="http://schemas.microsoft.com/office/powerpoint/2010/main" val="945169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wipe(left)">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F631A98-535B-4FE3-BAA6-66D37B1641C2}"/>
              </a:ext>
            </a:extLst>
          </p:cNvPr>
          <p:cNvSpPr/>
          <p:nvPr/>
        </p:nvSpPr>
        <p:spPr>
          <a:xfrm>
            <a:off x="4785272" y="1886545"/>
            <a:ext cx="6843782" cy="3517235"/>
          </a:xfrm>
          <a:prstGeom prst="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908299"/>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pic>
        <p:nvPicPr>
          <p:cNvPr id="40" name="Picture 39">
            <a:extLst>
              <a:ext uri="{FF2B5EF4-FFF2-40B4-BE49-F238E27FC236}">
                <a16:creationId xmlns:a16="http://schemas.microsoft.com/office/drawing/2014/main" id="{11440017-439C-491F-AF33-3D1A4D04F1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424" y="1640546"/>
            <a:ext cx="998256" cy="1001934"/>
          </a:xfrm>
          <a:prstGeom prst="ellipse">
            <a:avLst/>
          </a:prstGeom>
        </p:spPr>
      </p:pic>
      <p:pic>
        <p:nvPicPr>
          <p:cNvPr id="42" name="Picture 41">
            <a:extLst>
              <a:ext uri="{FF2B5EF4-FFF2-40B4-BE49-F238E27FC236}">
                <a16:creationId xmlns:a16="http://schemas.microsoft.com/office/drawing/2014/main" id="{50D6EB37-689C-4DB5-9862-7B58B7E4C9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75361" y="1640546"/>
            <a:ext cx="912942" cy="916306"/>
          </a:xfrm>
          <a:prstGeom prst="ellipse">
            <a:avLst/>
          </a:prstGeom>
        </p:spPr>
      </p:pic>
      <p:pic>
        <p:nvPicPr>
          <p:cNvPr id="45" name="Picture 44">
            <a:extLst>
              <a:ext uri="{FF2B5EF4-FFF2-40B4-BE49-F238E27FC236}">
                <a16:creationId xmlns:a16="http://schemas.microsoft.com/office/drawing/2014/main" id="{D602B17B-B7D9-44A1-B727-8816459AA8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35715" y="2661622"/>
            <a:ext cx="1040335" cy="1044169"/>
          </a:xfrm>
          <a:prstGeom prst="ellipse">
            <a:avLst/>
          </a:prstGeom>
        </p:spPr>
      </p:pic>
      <p:pic>
        <p:nvPicPr>
          <p:cNvPr id="46" name="Picture 45">
            <a:extLst>
              <a:ext uri="{FF2B5EF4-FFF2-40B4-BE49-F238E27FC236}">
                <a16:creationId xmlns:a16="http://schemas.microsoft.com/office/drawing/2014/main" id="{CBBA789E-3792-44FB-A0E7-A037D95796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82273" y="2722248"/>
            <a:ext cx="919527" cy="922915"/>
          </a:xfrm>
          <a:prstGeom prst="ellipse">
            <a:avLst/>
          </a:prstGeom>
        </p:spPr>
      </p:pic>
      <p:pic>
        <p:nvPicPr>
          <p:cNvPr id="47" name="Picture 46">
            <a:extLst>
              <a:ext uri="{FF2B5EF4-FFF2-40B4-BE49-F238E27FC236}">
                <a16:creationId xmlns:a16="http://schemas.microsoft.com/office/drawing/2014/main" id="{ED385F5A-2A70-4AE3-93A7-FCBE1D40664E}"/>
              </a:ext>
            </a:extLst>
          </p:cNvPr>
          <p:cNvPicPr>
            <a:picLocks noChangeAspect="1"/>
          </p:cNvPicPr>
          <p:nvPr/>
        </p:nvPicPr>
        <p:blipFill>
          <a:blip r:embed="rId7"/>
          <a:stretch>
            <a:fillRect/>
          </a:stretch>
        </p:blipFill>
        <p:spPr>
          <a:xfrm>
            <a:off x="1754994" y="1798139"/>
            <a:ext cx="949767" cy="685593"/>
          </a:xfrm>
          <a:prstGeom prst="rect">
            <a:avLst/>
          </a:prstGeom>
        </p:spPr>
      </p:pic>
      <p:sp>
        <p:nvSpPr>
          <p:cNvPr id="48" name="TextBox 47">
            <a:extLst>
              <a:ext uri="{FF2B5EF4-FFF2-40B4-BE49-F238E27FC236}">
                <a16:creationId xmlns:a16="http://schemas.microsoft.com/office/drawing/2014/main" id="{53FCAC34-37ED-4AD5-AA1B-1D9903DDFCD4}"/>
              </a:ext>
            </a:extLst>
          </p:cNvPr>
          <p:cNvSpPr txBox="1"/>
          <p:nvPr/>
        </p:nvSpPr>
        <p:spPr>
          <a:xfrm>
            <a:off x="699944" y="2394184"/>
            <a:ext cx="6815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49" name="TextBox 48">
            <a:extLst>
              <a:ext uri="{FF2B5EF4-FFF2-40B4-BE49-F238E27FC236}">
                <a16:creationId xmlns:a16="http://schemas.microsoft.com/office/drawing/2014/main" id="{150E727E-3293-4B10-8023-480371471223}"/>
              </a:ext>
            </a:extLst>
          </p:cNvPr>
          <p:cNvSpPr txBox="1"/>
          <p:nvPr/>
        </p:nvSpPr>
        <p:spPr>
          <a:xfrm>
            <a:off x="1915280" y="2407214"/>
            <a:ext cx="7713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50" name="TextBox 49">
            <a:extLst>
              <a:ext uri="{FF2B5EF4-FFF2-40B4-BE49-F238E27FC236}">
                <a16:creationId xmlns:a16="http://schemas.microsoft.com/office/drawing/2014/main" id="{3B935D75-7D83-4E2E-82D9-A15B80C910AF}"/>
              </a:ext>
            </a:extLst>
          </p:cNvPr>
          <p:cNvSpPr txBox="1"/>
          <p:nvPr/>
        </p:nvSpPr>
        <p:spPr>
          <a:xfrm>
            <a:off x="3047540" y="2411335"/>
            <a:ext cx="9781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51" name="TextBox 50">
            <a:extLst>
              <a:ext uri="{FF2B5EF4-FFF2-40B4-BE49-F238E27FC236}">
                <a16:creationId xmlns:a16="http://schemas.microsoft.com/office/drawing/2014/main" id="{D685F66D-A6FD-4B2C-8B5B-FC7CFE330660}"/>
              </a:ext>
            </a:extLst>
          </p:cNvPr>
          <p:cNvSpPr txBox="1"/>
          <p:nvPr/>
        </p:nvSpPr>
        <p:spPr>
          <a:xfrm>
            <a:off x="1835715" y="3616540"/>
            <a:ext cx="109517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Knowledge</a:t>
            </a:r>
          </a:p>
        </p:txBody>
      </p:sp>
      <p:sp>
        <p:nvSpPr>
          <p:cNvPr id="52" name="TextBox 51">
            <a:extLst>
              <a:ext uri="{FF2B5EF4-FFF2-40B4-BE49-F238E27FC236}">
                <a16:creationId xmlns:a16="http://schemas.microsoft.com/office/drawing/2014/main" id="{8B466AC7-9BCC-4D02-AA11-CD901152C3CB}"/>
              </a:ext>
            </a:extLst>
          </p:cNvPr>
          <p:cNvSpPr txBox="1"/>
          <p:nvPr/>
        </p:nvSpPr>
        <p:spPr>
          <a:xfrm>
            <a:off x="3227097" y="3614210"/>
            <a:ext cx="7248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grpSp>
        <p:nvGrpSpPr>
          <p:cNvPr id="53" name="Group 52">
            <a:extLst>
              <a:ext uri="{FF2B5EF4-FFF2-40B4-BE49-F238E27FC236}">
                <a16:creationId xmlns:a16="http://schemas.microsoft.com/office/drawing/2014/main" id="{65E2D970-F915-4647-898D-245494F12C86}"/>
              </a:ext>
            </a:extLst>
          </p:cNvPr>
          <p:cNvGrpSpPr/>
          <p:nvPr/>
        </p:nvGrpSpPr>
        <p:grpSpPr>
          <a:xfrm>
            <a:off x="427330" y="2661622"/>
            <a:ext cx="1165424" cy="1165424"/>
            <a:chOff x="10495195" y="2941204"/>
            <a:chExt cx="1165754" cy="1165754"/>
          </a:xfrm>
          <a:noFill/>
        </p:grpSpPr>
        <p:sp>
          <p:nvSpPr>
            <p:cNvPr id="54" name="Oval 53">
              <a:extLst>
                <a:ext uri="{FF2B5EF4-FFF2-40B4-BE49-F238E27FC236}">
                  <a16:creationId xmlns:a16="http://schemas.microsoft.com/office/drawing/2014/main" id="{DAFC7EF6-1A04-447F-9F8F-F65375A8050D}"/>
                </a:ext>
              </a:extLst>
            </p:cNvPr>
            <p:cNvSpPr/>
            <p:nvPr/>
          </p:nvSpPr>
          <p:spPr bwMode="auto">
            <a:xfrm>
              <a:off x="10495195" y="2941204"/>
              <a:ext cx="1165754" cy="1165754"/>
            </a:xfrm>
            <a:prstGeom prst="ellipse">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195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Freeform 5">
              <a:extLst>
                <a:ext uri="{FF2B5EF4-FFF2-40B4-BE49-F238E27FC236}">
                  <a16:creationId xmlns:a16="http://schemas.microsoft.com/office/drawing/2014/main" id="{C4010DAB-B2BA-48FA-9549-1A18725D220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rgbClr val="0063B1"/>
              </a:solidFill>
              <a:prstDash val="solid"/>
              <a:miter lim="800000"/>
              <a:headEnd/>
              <a:tailEnd/>
            </a:ln>
            <a:extLst/>
          </p:spPr>
          <p:txBody>
            <a:bodyPr vert="horz" wrap="square" lIns="91415" tIns="45707" rIns="91415" bIns="45707" numCol="1" anchor="t" anchorCtr="0" compatLnSpc="1">
              <a:prstTxWarp prst="textNoShape">
                <a:avLst/>
              </a:prstTxWarp>
            </a:bodyPr>
            <a:lstStyle/>
            <a:p>
              <a:pPr marL="0" marR="0" lvl="0" indent="0" algn="l" defTabSz="9323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0BED26B0-0885-4322-86B9-5F567CB9971F}"/>
              </a:ext>
            </a:extLst>
          </p:cNvPr>
          <p:cNvSpPr txBox="1"/>
          <p:nvPr/>
        </p:nvSpPr>
        <p:spPr>
          <a:xfrm>
            <a:off x="732273" y="3594474"/>
            <a:ext cx="5501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bs</a:t>
            </a:r>
          </a:p>
        </p:txBody>
      </p:sp>
      <p:sp>
        <p:nvSpPr>
          <p:cNvPr id="3" name="Rectangle 2">
            <a:extLst>
              <a:ext uri="{FF2B5EF4-FFF2-40B4-BE49-F238E27FC236}">
                <a16:creationId xmlns:a16="http://schemas.microsoft.com/office/drawing/2014/main" id="{82CB9877-D91B-4D95-AEFF-9190EF1259CB}"/>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cxnSp>
        <p:nvCxnSpPr>
          <p:cNvPr id="7" name="Straight Connector 6">
            <a:extLst>
              <a:ext uri="{FF2B5EF4-FFF2-40B4-BE49-F238E27FC236}">
                <a16:creationId xmlns:a16="http://schemas.microsoft.com/office/drawing/2014/main" id="{E2FC1E2C-9B1F-4630-8481-3AC33906D497}"/>
              </a:ext>
            </a:extLst>
          </p:cNvPr>
          <p:cNvCxnSpPr/>
          <p:nvPr/>
        </p:nvCxnSpPr>
        <p:spPr>
          <a:xfrm>
            <a:off x="1557513" y="4136756"/>
            <a:ext cx="15176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0C1D5C-DBD8-40F5-B62E-329722598713}"/>
              </a:ext>
            </a:extLst>
          </p:cNvPr>
          <p:cNvSpPr txBox="1"/>
          <p:nvPr/>
        </p:nvSpPr>
        <p:spPr>
          <a:xfrm>
            <a:off x="1154439" y="4252614"/>
            <a:ext cx="225382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Consume (C#, VB, F#)</a:t>
            </a:r>
          </a:p>
        </p:txBody>
      </p:sp>
      <p:sp>
        <p:nvSpPr>
          <p:cNvPr id="6" name="Rectangle 5">
            <a:extLst>
              <a:ext uri="{FF2B5EF4-FFF2-40B4-BE49-F238E27FC236}">
                <a16:creationId xmlns:a16="http://schemas.microsoft.com/office/drawing/2014/main" id="{B950E181-CD8A-4AE8-BE18-E02AC9A2D3C3}"/>
              </a:ext>
            </a:extLst>
          </p:cNvPr>
          <p:cNvSpPr/>
          <p:nvPr/>
        </p:nvSpPr>
        <p:spPr>
          <a:xfrm>
            <a:off x="4634125" y="2033260"/>
            <a:ext cx="10936513" cy="32316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lient =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AzureReg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zureRegions.Westu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ubscriptionKey</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1bf33391DeadFish"</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entimen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Batch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en"</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0"</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C00000"/>
                </a:solidFill>
                <a:effectLst/>
                <a:uLnTx/>
                <a:uFillTx/>
                <a:latin typeface="Consolas" panose="020B0609020204030204" pitchFamily="49" charset="0"/>
                <a:ea typeface="+mn-ea"/>
                <a:cs typeface="+mn-cs"/>
              </a:rPr>
              <a:t>This vacuum cleaner sucks so much dir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endPar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B799AAC-C3E4-4BB5-8ACD-475D741B7F6C}"/>
              </a:ext>
            </a:extLst>
          </p:cNvPr>
          <p:cNvSpPr/>
          <p:nvPr/>
        </p:nvSpPr>
        <p:spPr>
          <a:xfrm>
            <a:off x="4785272" y="1339874"/>
            <a:ext cx="56862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rPr>
              <a:t>e.g. Sentiment Analysis using Azure Cognitive Services</a:t>
            </a:r>
          </a:p>
        </p:txBody>
      </p:sp>
      <p:cxnSp>
        <p:nvCxnSpPr>
          <p:cNvPr id="29" name="Straight Connector 28">
            <a:extLst>
              <a:ext uri="{FF2B5EF4-FFF2-40B4-BE49-F238E27FC236}">
                <a16:creationId xmlns:a16="http://schemas.microsoft.com/office/drawing/2014/main" id="{DC94CFD7-B555-4EAC-841E-25ACBA307CD6}"/>
              </a:ext>
            </a:extLst>
          </p:cNvPr>
          <p:cNvCxnSpPr>
            <a:cxnSpLocks/>
          </p:cNvCxnSpPr>
          <p:nvPr/>
        </p:nvCxnSpPr>
        <p:spPr>
          <a:xfrm flipV="1">
            <a:off x="4389576" y="1485084"/>
            <a:ext cx="0" cy="3613083"/>
          </a:xfrm>
          <a:prstGeom prst="line">
            <a:avLst/>
          </a:prstGeom>
        </p:spPr>
        <p:style>
          <a:lnRef idx="1">
            <a:schemeClr val="accent2"/>
          </a:lnRef>
          <a:fillRef idx="0">
            <a:schemeClr val="accent2"/>
          </a:fillRef>
          <a:effectRef idx="0">
            <a:schemeClr val="accent2"/>
          </a:effectRef>
          <a:fontRef idx="minor">
            <a:schemeClr val="tx1"/>
          </a:fontRef>
        </p:style>
      </p:cxnSp>
      <p:sp>
        <p:nvSpPr>
          <p:cNvPr id="30" name="emoticon_2" title="Icon of a face frowning">
            <a:extLst>
              <a:ext uri="{FF2B5EF4-FFF2-40B4-BE49-F238E27FC236}">
                <a16:creationId xmlns:a16="http://schemas.microsoft.com/office/drawing/2014/main" id="{FDB893AF-3AC0-448A-9804-56B42AD81520}"/>
              </a:ext>
            </a:extLst>
          </p:cNvPr>
          <p:cNvSpPr>
            <a:spLocks noChangeAspect="1" noEditPoints="1"/>
          </p:cNvSpPr>
          <p:nvPr/>
        </p:nvSpPr>
        <p:spPr bwMode="auto">
          <a:xfrm>
            <a:off x="9530219" y="3644166"/>
            <a:ext cx="387496" cy="365760"/>
          </a:xfrm>
          <a:custGeom>
            <a:avLst/>
            <a:gdLst>
              <a:gd name="T0" fmla="*/ 312 w 312"/>
              <a:gd name="T1" fmla="*/ 156 h 312"/>
              <a:gd name="T2" fmla="*/ 156 w 312"/>
              <a:gd name="T3" fmla="*/ 312 h 312"/>
              <a:gd name="T4" fmla="*/ 0 w 312"/>
              <a:gd name="T5" fmla="*/ 156 h 312"/>
              <a:gd name="T6" fmla="*/ 156 w 312"/>
              <a:gd name="T7" fmla="*/ 0 h 312"/>
              <a:gd name="T8" fmla="*/ 312 w 312"/>
              <a:gd name="T9" fmla="*/ 156 h 312"/>
              <a:gd name="T10" fmla="*/ 239 w 312"/>
              <a:gd name="T11" fmla="*/ 250 h 312"/>
              <a:gd name="T12" fmla="*/ 156 w 312"/>
              <a:gd name="T13" fmla="*/ 200 h 312"/>
              <a:gd name="T14" fmla="*/ 73 w 312"/>
              <a:gd name="T15" fmla="*/ 250 h 312"/>
              <a:gd name="T16" fmla="*/ 94 w 312"/>
              <a:gd name="T17" fmla="*/ 100 h 312"/>
              <a:gd name="T18" fmla="*/ 80 w 312"/>
              <a:gd name="T19" fmla="*/ 114 h 312"/>
              <a:gd name="T20" fmla="*/ 94 w 312"/>
              <a:gd name="T21" fmla="*/ 128 h 312"/>
              <a:gd name="T22" fmla="*/ 108 w 312"/>
              <a:gd name="T23" fmla="*/ 114 h 312"/>
              <a:gd name="T24" fmla="*/ 94 w 312"/>
              <a:gd name="T25" fmla="*/ 100 h 312"/>
              <a:gd name="T26" fmla="*/ 220 w 312"/>
              <a:gd name="T27" fmla="*/ 100 h 312"/>
              <a:gd name="T28" fmla="*/ 206 w 312"/>
              <a:gd name="T29" fmla="*/ 114 h 312"/>
              <a:gd name="T30" fmla="*/ 220 w 312"/>
              <a:gd name="T31" fmla="*/ 128 h 312"/>
              <a:gd name="T32" fmla="*/ 234 w 312"/>
              <a:gd name="T33" fmla="*/ 114 h 312"/>
              <a:gd name="T34" fmla="*/ 220 w 312"/>
              <a:gd name="T35" fmla="*/ 10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312">
                <a:moveTo>
                  <a:pt x="312" y="156"/>
                </a:moveTo>
                <a:cubicBezTo>
                  <a:pt x="312" y="242"/>
                  <a:pt x="242" y="312"/>
                  <a:pt x="156" y="312"/>
                </a:cubicBezTo>
                <a:cubicBezTo>
                  <a:pt x="70" y="312"/>
                  <a:pt x="0" y="242"/>
                  <a:pt x="0" y="156"/>
                </a:cubicBezTo>
                <a:cubicBezTo>
                  <a:pt x="0" y="70"/>
                  <a:pt x="70" y="0"/>
                  <a:pt x="156" y="0"/>
                </a:cubicBezTo>
                <a:cubicBezTo>
                  <a:pt x="242" y="0"/>
                  <a:pt x="312" y="70"/>
                  <a:pt x="312" y="156"/>
                </a:cubicBezTo>
                <a:close/>
                <a:moveTo>
                  <a:pt x="239" y="250"/>
                </a:moveTo>
                <a:cubicBezTo>
                  <a:pt x="223" y="220"/>
                  <a:pt x="192" y="200"/>
                  <a:pt x="156" y="200"/>
                </a:cubicBezTo>
                <a:cubicBezTo>
                  <a:pt x="120" y="200"/>
                  <a:pt x="89" y="220"/>
                  <a:pt x="73" y="250"/>
                </a:cubicBezTo>
                <a:moveTo>
                  <a:pt x="94" y="100"/>
                </a:moveTo>
                <a:cubicBezTo>
                  <a:pt x="86" y="100"/>
                  <a:pt x="80" y="106"/>
                  <a:pt x="80" y="114"/>
                </a:cubicBezTo>
                <a:cubicBezTo>
                  <a:pt x="80" y="122"/>
                  <a:pt x="86" y="128"/>
                  <a:pt x="94" y="128"/>
                </a:cubicBezTo>
                <a:cubicBezTo>
                  <a:pt x="102" y="128"/>
                  <a:pt x="108" y="122"/>
                  <a:pt x="108" y="114"/>
                </a:cubicBezTo>
                <a:cubicBezTo>
                  <a:pt x="108" y="106"/>
                  <a:pt x="102" y="100"/>
                  <a:pt x="94" y="100"/>
                </a:cubicBezTo>
                <a:close/>
                <a:moveTo>
                  <a:pt x="220" y="100"/>
                </a:moveTo>
                <a:cubicBezTo>
                  <a:pt x="212" y="100"/>
                  <a:pt x="206" y="106"/>
                  <a:pt x="206" y="114"/>
                </a:cubicBezTo>
                <a:cubicBezTo>
                  <a:pt x="206" y="122"/>
                  <a:pt x="212" y="128"/>
                  <a:pt x="220" y="128"/>
                </a:cubicBezTo>
                <a:cubicBezTo>
                  <a:pt x="228" y="128"/>
                  <a:pt x="234" y="122"/>
                  <a:pt x="234" y="114"/>
                </a:cubicBezTo>
                <a:cubicBezTo>
                  <a:pt x="234" y="106"/>
                  <a:pt x="228" y="100"/>
                  <a:pt x="220" y="100"/>
                </a:cubicBezTo>
                <a:close/>
              </a:path>
            </a:pathLst>
          </a:custGeom>
          <a:solidFill>
            <a:srgbClr val="FFC000"/>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94011D88-CB8E-4FD8-BA00-A2A79AE9D31C}"/>
              </a:ext>
            </a:extLst>
          </p:cNvPr>
          <p:cNvSpPr txBox="1"/>
          <p:nvPr/>
        </p:nvSpPr>
        <p:spPr>
          <a:xfrm>
            <a:off x="10032530" y="3673157"/>
            <a:ext cx="12969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 positive</a:t>
            </a:r>
          </a:p>
        </p:txBody>
      </p:sp>
      <p:sp>
        <p:nvSpPr>
          <p:cNvPr id="31" name="Title 1">
            <a:extLst>
              <a:ext uri="{FF2B5EF4-FFF2-40B4-BE49-F238E27FC236}">
                <a16:creationId xmlns:a16="http://schemas.microsoft.com/office/drawing/2014/main" id="{208F1643-EE05-498A-BED7-F2EFB5C9A06D}"/>
              </a:ext>
            </a:extLst>
          </p:cNvPr>
          <p:cNvSpPr>
            <a:spLocks noGrp="1"/>
          </p:cNvSpPr>
          <p:nvPr>
            <p:ph type="title"/>
          </p:nvPr>
        </p:nvSpPr>
        <p:spPr>
          <a:xfrm>
            <a:off x="470978" y="-31489"/>
            <a:ext cx="11555771" cy="1325563"/>
          </a:xfrm>
        </p:spPr>
        <p:txBody>
          <a:bodyPr>
            <a:normAutofit/>
          </a:bodyPr>
          <a:lstStyle/>
          <a:p>
            <a:r>
              <a:rPr lang="en-US" spc="-100" dirty="0">
                <a:ln w="3175">
                  <a:noFill/>
                </a:ln>
                <a:latin typeface="Segoe UI Light" panose="020B0502040204020203" pitchFamily="34" charset="0"/>
                <a:cs typeface="Segoe UI Light" panose="020B0502040204020203" pitchFamily="34" charset="0"/>
              </a:rPr>
              <a:t>Pre-built ML Models (Azure Cognitive Services)</a:t>
            </a:r>
          </a:p>
        </p:txBody>
      </p:sp>
    </p:spTree>
    <p:extLst>
      <p:ext uri="{BB962C8B-B14F-4D97-AF65-F5344CB8AC3E}">
        <p14:creationId xmlns:p14="http://schemas.microsoft.com/office/powerpoint/2010/main" val="2994477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wipe(left)">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189344"/>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sp>
        <p:nvSpPr>
          <p:cNvPr id="3" name="Rectangle 2">
            <a:extLst>
              <a:ext uri="{FF2B5EF4-FFF2-40B4-BE49-F238E27FC236}">
                <a16:creationId xmlns:a16="http://schemas.microsoft.com/office/drawing/2014/main" id="{82CB9877-D91B-4D95-AEFF-9190EF1259CB}"/>
              </a:ext>
            </a:extLst>
          </p:cNvPr>
          <p:cNvSpPr/>
          <p:nvPr/>
        </p:nvSpPr>
        <p:spPr>
          <a:xfrm>
            <a:off x="6183108" y="3052219"/>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6183108" y="3052219"/>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8" name="Rectangle 27">
            <a:extLst>
              <a:ext uri="{FF2B5EF4-FFF2-40B4-BE49-F238E27FC236}">
                <a16:creationId xmlns:a16="http://schemas.microsoft.com/office/drawing/2014/main" id="{D958CB02-F3AE-42A2-BC68-6143F92B18B4}"/>
              </a:ext>
            </a:extLst>
          </p:cNvPr>
          <p:cNvSpPr/>
          <p:nvPr/>
        </p:nvSpPr>
        <p:spPr>
          <a:xfrm>
            <a:off x="839360" y="4282846"/>
            <a:ext cx="2706703" cy="461665"/>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Prepare Your Data</a:t>
            </a:r>
          </a:p>
        </p:txBody>
      </p:sp>
      <p:sp>
        <p:nvSpPr>
          <p:cNvPr id="30" name="Rectangle 29">
            <a:extLst>
              <a:ext uri="{FF2B5EF4-FFF2-40B4-BE49-F238E27FC236}">
                <a16:creationId xmlns:a16="http://schemas.microsoft.com/office/drawing/2014/main" id="{28B0807E-91B7-4A20-971F-3A88A8331E34}"/>
              </a:ext>
            </a:extLst>
          </p:cNvPr>
          <p:cNvSpPr/>
          <p:nvPr/>
        </p:nvSpPr>
        <p:spPr bwMode="grayWhite">
          <a:xfrm>
            <a:off x="4989247" y="4282846"/>
            <a:ext cx="1733744" cy="830997"/>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Build, Trai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amp; Evaluate</a:t>
            </a:r>
          </a:p>
        </p:txBody>
      </p:sp>
      <p:sp>
        <p:nvSpPr>
          <p:cNvPr id="31" name="Rectangle 30">
            <a:extLst>
              <a:ext uri="{FF2B5EF4-FFF2-40B4-BE49-F238E27FC236}">
                <a16:creationId xmlns:a16="http://schemas.microsoft.com/office/drawing/2014/main" id="{0F94585A-EF08-4A3B-BE5D-8F9944343C59}"/>
              </a:ext>
            </a:extLst>
          </p:cNvPr>
          <p:cNvSpPr/>
          <p:nvPr/>
        </p:nvSpPr>
        <p:spPr>
          <a:xfrm>
            <a:off x="9014082" y="4282845"/>
            <a:ext cx="736099" cy="461665"/>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Run</a:t>
            </a:r>
          </a:p>
        </p:txBody>
      </p:sp>
      <mc:AlternateContent xmlns:mc="http://schemas.openxmlformats.org/markup-compatibility/2006" xmlns:p14="http://schemas.microsoft.com/office/powerpoint/2010/main">
        <mc:Choice Requires="p14">
          <p:contentPart p14:bwMode="auto" r:id="rId3">
            <p14:nvContentPartPr>
              <p14:cNvPr id="32" name="Ink 31">
                <a:extLst>
                  <a:ext uri="{FF2B5EF4-FFF2-40B4-BE49-F238E27FC236}">
                    <a16:creationId xmlns:a16="http://schemas.microsoft.com/office/drawing/2014/main" id="{04C2573A-4C65-40F5-9552-93DDE5168444}"/>
                  </a:ext>
                </a:extLst>
              </p14:cNvPr>
              <p14:cNvContentPartPr/>
              <p14:nvPr/>
            </p14:nvContentPartPr>
            <p14:xfrm>
              <a:off x="1390024" y="2342846"/>
              <a:ext cx="1706400" cy="1628640"/>
            </p14:xfrm>
          </p:contentPart>
        </mc:Choice>
        <mc:Fallback xmlns="">
          <p:pic>
            <p:nvPicPr>
              <p:cNvPr id="32" name="Ink 31">
                <a:extLst>
                  <a:ext uri="{FF2B5EF4-FFF2-40B4-BE49-F238E27FC236}">
                    <a16:creationId xmlns:a16="http://schemas.microsoft.com/office/drawing/2014/main" id="{04C2573A-4C65-40F5-9552-93DDE5168444}"/>
                  </a:ext>
                </a:extLst>
              </p:cNvPr>
              <p:cNvPicPr/>
              <p:nvPr/>
            </p:nvPicPr>
            <p:blipFill>
              <a:blip r:embed="rId4"/>
              <a:stretch>
                <a:fillRect/>
              </a:stretch>
            </p:blipFill>
            <p:spPr>
              <a:xfrm>
                <a:off x="1381022" y="2333846"/>
                <a:ext cx="1724044" cy="164628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33" name="Ink 32">
                <a:extLst>
                  <a:ext uri="{FF2B5EF4-FFF2-40B4-BE49-F238E27FC236}">
                    <a16:creationId xmlns:a16="http://schemas.microsoft.com/office/drawing/2014/main" id="{A2406F37-A132-4FA3-96A8-888F805AE584}"/>
                  </a:ext>
                </a:extLst>
              </p14:cNvPr>
              <p14:cNvContentPartPr/>
              <p14:nvPr/>
            </p14:nvContentPartPr>
            <p14:xfrm>
              <a:off x="4737537" y="2006842"/>
              <a:ext cx="1935720" cy="2252880"/>
            </p14:xfrm>
          </p:contentPart>
        </mc:Choice>
        <mc:Fallback xmlns="">
          <p:pic>
            <p:nvPicPr>
              <p:cNvPr id="33" name="Ink 32">
                <a:extLst>
                  <a:ext uri="{FF2B5EF4-FFF2-40B4-BE49-F238E27FC236}">
                    <a16:creationId xmlns:a16="http://schemas.microsoft.com/office/drawing/2014/main" id="{A2406F37-A132-4FA3-96A8-888F805AE584}"/>
                  </a:ext>
                </a:extLst>
              </p:cNvPr>
              <p:cNvPicPr/>
              <p:nvPr/>
            </p:nvPicPr>
            <p:blipFill>
              <a:blip r:embed="rId6"/>
              <a:stretch>
                <a:fillRect/>
              </a:stretch>
            </p:blipFill>
            <p:spPr>
              <a:xfrm>
                <a:off x="4728535" y="1997841"/>
                <a:ext cx="1953363" cy="2270523"/>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4" name="Ink 33">
                <a:extLst>
                  <a:ext uri="{FF2B5EF4-FFF2-40B4-BE49-F238E27FC236}">
                    <a16:creationId xmlns:a16="http://schemas.microsoft.com/office/drawing/2014/main" id="{B11186C7-4903-40C3-9BAF-704A34CE2ED4}"/>
                  </a:ext>
                </a:extLst>
              </p14:cNvPr>
              <p14:cNvContentPartPr/>
              <p14:nvPr/>
            </p14:nvContentPartPr>
            <p14:xfrm>
              <a:off x="7744977" y="2660962"/>
              <a:ext cx="2871360" cy="1278000"/>
            </p14:xfrm>
          </p:contentPart>
        </mc:Choice>
        <mc:Fallback xmlns="">
          <p:pic>
            <p:nvPicPr>
              <p:cNvPr id="34" name="Ink 33">
                <a:extLst>
                  <a:ext uri="{FF2B5EF4-FFF2-40B4-BE49-F238E27FC236}">
                    <a16:creationId xmlns:a16="http://schemas.microsoft.com/office/drawing/2014/main" id="{B11186C7-4903-40C3-9BAF-704A34CE2ED4}"/>
                  </a:ext>
                </a:extLst>
              </p:cNvPr>
              <p:cNvPicPr/>
              <p:nvPr/>
            </p:nvPicPr>
            <p:blipFill>
              <a:blip r:embed="rId8"/>
              <a:stretch>
                <a:fillRect/>
              </a:stretch>
            </p:blipFill>
            <p:spPr>
              <a:xfrm>
                <a:off x="7735976" y="2651959"/>
                <a:ext cx="2889002" cy="1295645"/>
              </a:xfrm>
              <a:prstGeom prst="rect">
                <a:avLst/>
              </a:prstGeom>
            </p:spPr>
          </p:pic>
        </mc:Fallback>
      </mc:AlternateContent>
      <p:sp>
        <p:nvSpPr>
          <p:cNvPr id="15" name="Title 1">
            <a:extLst>
              <a:ext uri="{FF2B5EF4-FFF2-40B4-BE49-F238E27FC236}">
                <a16:creationId xmlns:a16="http://schemas.microsoft.com/office/drawing/2014/main" id="{6A613634-3225-4711-B867-74715D47EC10}"/>
              </a:ext>
            </a:extLst>
          </p:cNvPr>
          <p:cNvSpPr>
            <a:spLocks noGrp="1"/>
          </p:cNvSpPr>
          <p:nvPr>
            <p:ph type="title"/>
          </p:nvPr>
        </p:nvSpPr>
        <p:spPr>
          <a:xfrm>
            <a:off x="470978" y="-31489"/>
            <a:ext cx="11555771" cy="1325563"/>
          </a:xfrm>
        </p:spPr>
        <p:txBody>
          <a:bodyPr>
            <a:normAutofit/>
          </a:bodyPr>
          <a:lstStyle/>
          <a:p>
            <a:r>
              <a:rPr lang="en-US" sz="4800" spc="-100" dirty="0">
                <a:ln w="3175">
                  <a:noFill/>
                </a:ln>
                <a:latin typeface="Segoe UI Light" panose="020B0502040204020203" pitchFamily="34" charset="0"/>
                <a:cs typeface="Segoe UI Light" panose="020B0502040204020203" pitchFamily="34" charset="0"/>
              </a:rPr>
              <a:t>Build your own (custom) ML Models</a:t>
            </a:r>
          </a:p>
        </p:txBody>
      </p:sp>
    </p:spTree>
    <p:extLst>
      <p:ext uri="{BB962C8B-B14F-4D97-AF65-F5344CB8AC3E}">
        <p14:creationId xmlns:p14="http://schemas.microsoft.com/office/powerpoint/2010/main" val="24952359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721F8E-9EFF-44D5-8579-A603E6644F90}"/>
              </a:ext>
            </a:extLst>
          </p:cNvPr>
          <p:cNvSpPr>
            <a:spLocks noGrp="1"/>
          </p:cNvSpPr>
          <p:nvPr>
            <p:ph type="title"/>
          </p:nvPr>
        </p:nvSpPr>
        <p:spPr>
          <a:xfrm>
            <a:off x="318114" y="149144"/>
            <a:ext cx="11555771" cy="763424"/>
          </a:xfrm>
        </p:spPr>
        <p:txBody>
          <a:bodyPr>
            <a:noAutofit/>
          </a:bodyPr>
          <a:lstStyle/>
          <a:p>
            <a:r>
              <a:rPr lang="en-US" sz="4000" spc="-100" dirty="0">
                <a:ln w="3175">
                  <a:noFill/>
                </a:ln>
                <a:latin typeface="Segoe UI Light" panose="020B0502040204020203" pitchFamily="34" charset="0"/>
                <a:cs typeface="Segoe UI Light" panose="020B0502040204020203" pitchFamily="34" charset="0"/>
              </a:rPr>
              <a:t>Processes for Building your own (custom) ML Models</a:t>
            </a:r>
          </a:p>
        </p:txBody>
      </p:sp>
      <p:sp>
        <p:nvSpPr>
          <p:cNvPr id="5" name="Rectangle 4">
            <a:extLst>
              <a:ext uri="{FF2B5EF4-FFF2-40B4-BE49-F238E27FC236}">
                <a16:creationId xmlns:a16="http://schemas.microsoft.com/office/drawing/2014/main" id="{6D92A5DD-2C59-495E-AB63-0751D8731397}"/>
              </a:ext>
            </a:extLst>
          </p:cNvPr>
          <p:cNvSpPr/>
          <p:nvPr/>
        </p:nvSpPr>
        <p:spPr>
          <a:xfrm>
            <a:off x="2467502" y="3022297"/>
            <a:ext cx="2024465" cy="63555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ecycle</a:t>
            </a:r>
          </a:p>
        </p:txBody>
      </p:sp>
      <p:grpSp>
        <p:nvGrpSpPr>
          <p:cNvPr id="83" name="Group 82">
            <a:extLst>
              <a:ext uri="{FF2B5EF4-FFF2-40B4-BE49-F238E27FC236}">
                <a16:creationId xmlns:a16="http://schemas.microsoft.com/office/drawing/2014/main" id="{165ABB87-8241-401E-B57E-67845E1E32F7}"/>
              </a:ext>
            </a:extLst>
          </p:cNvPr>
          <p:cNvGrpSpPr/>
          <p:nvPr/>
        </p:nvGrpSpPr>
        <p:grpSpPr>
          <a:xfrm>
            <a:off x="1471036" y="1226807"/>
            <a:ext cx="1759607" cy="1415828"/>
            <a:chOff x="1173972" y="1068991"/>
            <a:chExt cx="1759607" cy="1415828"/>
          </a:xfrm>
        </p:grpSpPr>
        <p:sp>
          <p:nvSpPr>
            <p:cNvPr id="15" name="Rectangle 14">
              <a:extLst>
                <a:ext uri="{FF2B5EF4-FFF2-40B4-BE49-F238E27FC236}">
                  <a16:creationId xmlns:a16="http://schemas.microsoft.com/office/drawing/2014/main" id="{13BE510B-AC25-4D60-A897-7AFF458D40B4}"/>
                </a:ext>
              </a:extLst>
            </p:cNvPr>
            <p:cNvSpPr/>
            <p:nvPr/>
          </p:nvSpPr>
          <p:spPr>
            <a:xfrm>
              <a:off x="1173972" y="1068991"/>
              <a:ext cx="1759607"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03116600-DA79-4A59-8EDF-728D15074E31}"/>
                </a:ext>
              </a:extLst>
            </p:cNvPr>
            <p:cNvSpPr/>
            <p:nvPr/>
          </p:nvSpPr>
          <p:spPr>
            <a:xfrm>
              <a:off x="1536927" y="1228723"/>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Cylinder 29">
              <a:extLst>
                <a:ext uri="{FF2B5EF4-FFF2-40B4-BE49-F238E27FC236}">
                  <a16:creationId xmlns:a16="http://schemas.microsoft.com/office/drawing/2014/main" id="{30E12E96-5DA4-418C-AE14-7A448604C720}"/>
                </a:ext>
              </a:extLst>
            </p:cNvPr>
            <p:cNvSpPr/>
            <p:nvPr/>
          </p:nvSpPr>
          <p:spPr>
            <a:xfrm>
              <a:off x="1902979" y="1694383"/>
              <a:ext cx="586556" cy="561975"/>
            </a:xfrm>
            <a:prstGeom prst="can">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DE3926EA-0297-4D96-8205-04722D55E479}"/>
                </a:ext>
              </a:extLst>
            </p:cNvPr>
            <p:cNvSpPr/>
            <p:nvPr/>
          </p:nvSpPr>
          <p:spPr>
            <a:xfrm>
              <a:off x="1831838" y="1221916"/>
              <a:ext cx="741229"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istoric</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grpSp>
        <p:nvGrpSpPr>
          <p:cNvPr id="85" name="Group 84">
            <a:extLst>
              <a:ext uri="{FF2B5EF4-FFF2-40B4-BE49-F238E27FC236}">
                <a16:creationId xmlns:a16="http://schemas.microsoft.com/office/drawing/2014/main" id="{594A2D25-9F0A-442F-83E4-19135EC65B80}"/>
              </a:ext>
            </a:extLst>
          </p:cNvPr>
          <p:cNvGrpSpPr/>
          <p:nvPr/>
        </p:nvGrpSpPr>
        <p:grpSpPr>
          <a:xfrm>
            <a:off x="1911982" y="4059128"/>
            <a:ext cx="1509638" cy="1415828"/>
            <a:chOff x="1614918" y="3901312"/>
            <a:chExt cx="1509638" cy="1415828"/>
          </a:xfrm>
        </p:grpSpPr>
        <p:sp>
          <p:nvSpPr>
            <p:cNvPr id="17" name="Rectangle 16">
              <a:extLst>
                <a:ext uri="{FF2B5EF4-FFF2-40B4-BE49-F238E27FC236}">
                  <a16:creationId xmlns:a16="http://schemas.microsoft.com/office/drawing/2014/main" id="{30FA9693-B71F-4204-9756-1B76DA723551}"/>
                </a:ext>
              </a:extLst>
            </p:cNvPr>
            <p:cNvSpPr/>
            <p:nvPr/>
          </p:nvSpPr>
          <p:spPr>
            <a:xfrm>
              <a:off x="1614918" y="3901312"/>
              <a:ext cx="1509638"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02695511-E94B-40C1-BEB3-CC586A60A16A}"/>
                </a:ext>
              </a:extLst>
            </p:cNvPr>
            <p:cNvSpPr/>
            <p:nvPr/>
          </p:nvSpPr>
          <p:spPr>
            <a:xfrm>
              <a:off x="1614918" y="4058984"/>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 name="Picture 33">
              <a:extLst>
                <a:ext uri="{FF2B5EF4-FFF2-40B4-BE49-F238E27FC236}">
                  <a16:creationId xmlns:a16="http://schemas.microsoft.com/office/drawing/2014/main" id="{A1EA4EE6-9694-42BF-AEDB-FE010013B424}"/>
                </a:ext>
              </a:extLst>
            </p:cNvPr>
            <p:cNvPicPr>
              <a:picLocks noChangeAspect="1"/>
            </p:cNvPicPr>
            <p:nvPr/>
          </p:nvPicPr>
          <p:blipFill>
            <a:blip r:embed="rId3">
              <a:extLst>
                <a:ext uri="{BEBA8EAE-BF5A-486C-A8C5-ECC9F3942E4B}">
                  <a14:imgProps xmlns:a14="http://schemas.microsoft.com/office/drawing/2010/main">
                    <a14:imgLayer r:embed="rId4">
                      <a14:imgEffect>
                        <a14:saturation sat="300000"/>
                      </a14:imgEffect>
                    </a14:imgLayer>
                  </a14:imgProps>
                </a:ext>
              </a:extLst>
            </a:blip>
            <a:stretch>
              <a:fillRect/>
            </a:stretch>
          </p:blipFill>
          <p:spPr>
            <a:xfrm>
              <a:off x="1870687" y="4443264"/>
              <a:ext cx="759420" cy="649077"/>
            </a:xfrm>
            <a:prstGeom prst="rect">
              <a:avLst/>
            </a:prstGeom>
          </p:spPr>
        </p:pic>
        <p:sp>
          <p:nvSpPr>
            <p:cNvPr id="33" name="Rectangle 32">
              <a:extLst>
                <a:ext uri="{FF2B5EF4-FFF2-40B4-BE49-F238E27FC236}">
                  <a16:creationId xmlns:a16="http://schemas.microsoft.com/office/drawing/2014/main" id="{92185CC4-F5A2-48CA-A1C6-D2A111BF60D1}"/>
                </a:ext>
              </a:extLst>
            </p:cNvPr>
            <p:cNvSpPr/>
            <p:nvPr/>
          </p:nvSpPr>
          <p:spPr>
            <a:xfrm>
              <a:off x="1890886" y="4095477"/>
              <a:ext cx="792718"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e</a:t>
              </a:r>
            </a:p>
          </p:txBody>
        </p:sp>
      </p:grpSp>
      <p:grpSp>
        <p:nvGrpSpPr>
          <p:cNvPr id="84" name="Group 83">
            <a:extLst>
              <a:ext uri="{FF2B5EF4-FFF2-40B4-BE49-F238E27FC236}">
                <a16:creationId xmlns:a16="http://schemas.microsoft.com/office/drawing/2014/main" id="{63B78772-AB5B-423E-8D77-7C6EF57E0502}"/>
              </a:ext>
            </a:extLst>
          </p:cNvPr>
          <p:cNvGrpSpPr/>
          <p:nvPr/>
        </p:nvGrpSpPr>
        <p:grpSpPr>
          <a:xfrm>
            <a:off x="4555935" y="2547813"/>
            <a:ext cx="1444054" cy="1511315"/>
            <a:chOff x="4258871" y="2389997"/>
            <a:chExt cx="1444054" cy="1511315"/>
          </a:xfrm>
        </p:grpSpPr>
        <p:sp>
          <p:nvSpPr>
            <p:cNvPr id="16" name="Rectangle 15">
              <a:extLst>
                <a:ext uri="{FF2B5EF4-FFF2-40B4-BE49-F238E27FC236}">
                  <a16:creationId xmlns:a16="http://schemas.microsoft.com/office/drawing/2014/main" id="{2BDD7C52-1F3E-4F5C-AE98-145CD6ECFEEA}"/>
                </a:ext>
              </a:extLst>
            </p:cNvPr>
            <p:cNvSpPr/>
            <p:nvPr/>
          </p:nvSpPr>
          <p:spPr>
            <a:xfrm>
              <a:off x="4258871" y="2389997"/>
              <a:ext cx="1444054" cy="1511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BEBBA8D-2A09-488B-9A99-C6A5EDEA220B}"/>
                </a:ext>
              </a:extLst>
            </p:cNvPr>
            <p:cNvSpPr/>
            <p:nvPr/>
          </p:nvSpPr>
          <p:spPr>
            <a:xfrm>
              <a:off x="4262914" y="2571910"/>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4B81004C-3C69-4A84-90EB-27B407B35355}"/>
                </a:ext>
              </a:extLst>
            </p:cNvPr>
            <p:cNvSpPr/>
            <p:nvPr/>
          </p:nvSpPr>
          <p:spPr>
            <a:xfrm>
              <a:off x="4382944" y="2709720"/>
              <a:ext cx="1125565" cy="292388"/>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mp; Train</a:t>
              </a:r>
            </a:p>
          </p:txBody>
        </p:sp>
        <p:pic>
          <p:nvPicPr>
            <p:cNvPr id="3076" name="Picture 4" descr="Image result for Training process  icon">
              <a:extLst>
                <a:ext uri="{FF2B5EF4-FFF2-40B4-BE49-F238E27FC236}">
                  <a16:creationId xmlns:a16="http://schemas.microsoft.com/office/drawing/2014/main" id="{04252292-5200-4701-9079-454E2AFBDB7D}"/>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81107" y="2917219"/>
              <a:ext cx="891505" cy="668629"/>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Arrow: Right 41">
            <a:extLst>
              <a:ext uri="{FF2B5EF4-FFF2-40B4-BE49-F238E27FC236}">
                <a16:creationId xmlns:a16="http://schemas.microsoft.com/office/drawing/2014/main" id="{CA941309-9BFA-4D23-BEF1-3F0B9367AD3B}"/>
              </a:ext>
            </a:extLst>
          </p:cNvPr>
          <p:cNvSpPr/>
          <p:nvPr/>
        </p:nvSpPr>
        <p:spPr>
          <a:xfrm>
            <a:off x="7564937" y="3200791"/>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2EFC1C42-F620-41C2-8E76-7D2CCE173FEA}"/>
              </a:ext>
            </a:extLst>
          </p:cNvPr>
          <p:cNvGrpSpPr/>
          <p:nvPr/>
        </p:nvGrpSpPr>
        <p:grpSpPr>
          <a:xfrm>
            <a:off x="6140234" y="2527645"/>
            <a:ext cx="1324959" cy="1456722"/>
            <a:chOff x="6140234" y="2527645"/>
            <a:chExt cx="1324959" cy="1456722"/>
          </a:xfrm>
        </p:grpSpPr>
        <p:pic>
          <p:nvPicPr>
            <p:cNvPr id="3078" name="Picture 6" descr="Image result for File icon">
              <a:extLst>
                <a:ext uri="{FF2B5EF4-FFF2-40B4-BE49-F238E27FC236}">
                  <a16:creationId xmlns:a16="http://schemas.microsoft.com/office/drawing/2014/main" id="{34B44D3F-C4F6-4ACC-8640-229982107E58}"/>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7849" y="3050865"/>
              <a:ext cx="543235" cy="648433"/>
            </a:xfrm>
            <a:prstGeom prst="rect">
              <a:avLst/>
            </a:prstGeom>
            <a:noFill/>
            <a:extLst>
              <a:ext uri="{909E8E84-426E-40DD-AFC4-6F175D3DCCD1}">
                <a14:hiddenFill xmlns:a14="http://schemas.microsoft.com/office/drawing/2010/main">
                  <a:solidFill>
                    <a:srgbClr val="FFFFFF"/>
                  </a:solidFill>
                </a14:hiddenFill>
              </a:ext>
            </a:extLst>
          </p:spPr>
        </p:pic>
        <p:sp>
          <p:nvSpPr>
            <p:cNvPr id="35" name="Arrow: Right 34">
              <a:extLst>
                <a:ext uri="{FF2B5EF4-FFF2-40B4-BE49-F238E27FC236}">
                  <a16:creationId xmlns:a16="http://schemas.microsoft.com/office/drawing/2014/main" id="{2363C223-92F1-4798-B194-B031A59C8298}"/>
                </a:ext>
              </a:extLst>
            </p:cNvPr>
            <p:cNvSpPr/>
            <p:nvPr/>
          </p:nvSpPr>
          <p:spPr>
            <a:xfrm>
              <a:off x="6140234" y="3180047"/>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8122725-F1C4-49C0-B739-89069B69D8D6}"/>
                </a:ext>
              </a:extLst>
            </p:cNvPr>
            <p:cNvSpPr/>
            <p:nvPr/>
          </p:nvSpPr>
          <p:spPr>
            <a:xfrm>
              <a:off x="6403107" y="2527645"/>
              <a:ext cx="1062086"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e</a:t>
              </a:r>
            </a:p>
          </p:txBody>
        </p:sp>
        <p:sp>
          <p:nvSpPr>
            <p:cNvPr id="40" name="Rectangle 39">
              <a:extLst>
                <a:ext uri="{FF2B5EF4-FFF2-40B4-BE49-F238E27FC236}">
                  <a16:creationId xmlns:a16="http://schemas.microsoft.com/office/drawing/2014/main" id="{879D2CCF-0090-4524-9309-FD9C812EAB16}"/>
                </a:ext>
              </a:extLst>
            </p:cNvPr>
            <p:cNvSpPr/>
            <p:nvPr/>
          </p:nvSpPr>
          <p:spPr>
            <a:xfrm>
              <a:off x="6403107" y="3676590"/>
              <a:ext cx="1062086"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ed)</a:t>
              </a:r>
            </a:p>
          </p:txBody>
        </p:sp>
        <p:pic>
          <p:nvPicPr>
            <p:cNvPr id="38" name="Picture 37">
              <a:extLst>
                <a:ext uri="{FF2B5EF4-FFF2-40B4-BE49-F238E27FC236}">
                  <a16:creationId xmlns:a16="http://schemas.microsoft.com/office/drawing/2014/main" id="{29D4C080-646A-4324-A758-AE9EEBDC69CA}"/>
                </a:ext>
              </a:extLst>
            </p:cNvPr>
            <p:cNvPicPr>
              <a:picLocks noChangeAspect="1"/>
            </p:cNvPicPr>
            <p:nvPr/>
          </p:nvPicPr>
          <p:blipFill rotWithShape="1">
            <a:blip r:embed="rId7"/>
            <a:srcRect t="1513" r="2066"/>
            <a:stretch/>
          </p:blipFill>
          <p:spPr>
            <a:xfrm>
              <a:off x="6725238" y="3249583"/>
              <a:ext cx="447614" cy="365502"/>
            </a:xfrm>
            <a:prstGeom prst="rect">
              <a:avLst/>
            </a:prstGeom>
          </p:spPr>
        </p:pic>
      </p:grpSp>
      <p:grpSp>
        <p:nvGrpSpPr>
          <p:cNvPr id="80" name="Group 79">
            <a:extLst>
              <a:ext uri="{FF2B5EF4-FFF2-40B4-BE49-F238E27FC236}">
                <a16:creationId xmlns:a16="http://schemas.microsoft.com/office/drawing/2014/main" id="{FD204A43-7084-45EE-9F8C-24F7AB3D7F7E}"/>
              </a:ext>
            </a:extLst>
          </p:cNvPr>
          <p:cNvGrpSpPr/>
          <p:nvPr/>
        </p:nvGrpSpPr>
        <p:grpSpPr>
          <a:xfrm>
            <a:off x="1522453" y="5667125"/>
            <a:ext cx="5345006" cy="344018"/>
            <a:chOff x="1220747" y="5448596"/>
            <a:chExt cx="4946032" cy="283672"/>
          </a:xfrm>
        </p:grpSpPr>
        <p:sp>
          <p:nvSpPr>
            <p:cNvPr id="61" name="Arrow: Chevron 60">
              <a:extLst>
                <a:ext uri="{FF2B5EF4-FFF2-40B4-BE49-F238E27FC236}">
                  <a16:creationId xmlns:a16="http://schemas.microsoft.com/office/drawing/2014/main" id="{C36058E8-1DB4-45A0-A8D1-E32EA0FBD0B2}"/>
                </a:ext>
              </a:extLst>
            </p:cNvPr>
            <p:cNvSpPr/>
            <p:nvPr/>
          </p:nvSpPr>
          <p:spPr bwMode="auto">
            <a:xfrm>
              <a:off x="1220747" y="5456275"/>
              <a:ext cx="4946032"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5D676F25-CD90-4EBB-A69C-AAD73F91582D}"/>
                </a:ext>
              </a:extLst>
            </p:cNvPr>
            <p:cNvSpPr/>
            <p:nvPr/>
          </p:nvSpPr>
          <p:spPr>
            <a:xfrm>
              <a:off x="1848346"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pare Data, Build and Train an ML model</a:t>
              </a:r>
            </a:p>
          </p:txBody>
        </p:sp>
      </p:grpSp>
      <p:sp>
        <p:nvSpPr>
          <p:cNvPr id="64" name="Arrow: Chevron 63">
            <a:extLst>
              <a:ext uri="{FF2B5EF4-FFF2-40B4-BE49-F238E27FC236}">
                <a16:creationId xmlns:a16="http://schemas.microsoft.com/office/drawing/2014/main" id="{73CECA76-7FBD-471E-90B8-38342BCE6B42}"/>
              </a:ext>
            </a:extLst>
          </p:cNvPr>
          <p:cNvSpPr/>
          <p:nvPr/>
        </p:nvSpPr>
        <p:spPr bwMode="auto">
          <a:xfrm>
            <a:off x="7172852" y="5674805"/>
            <a:ext cx="4399038" cy="307776"/>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05C40642-D35D-4EE3-9CC0-3ACEB05AE7D8}"/>
              </a:ext>
            </a:extLst>
          </p:cNvPr>
          <p:cNvSpPr/>
          <p:nvPr/>
        </p:nvSpPr>
        <p:spPr>
          <a:xfrm>
            <a:off x="8089323" y="5679781"/>
            <a:ext cx="2740214"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Run/consume the ML model in app</a:t>
            </a:r>
          </a:p>
        </p:txBody>
      </p:sp>
      <p:grpSp>
        <p:nvGrpSpPr>
          <p:cNvPr id="2" name="Group 1">
            <a:extLst>
              <a:ext uri="{FF2B5EF4-FFF2-40B4-BE49-F238E27FC236}">
                <a16:creationId xmlns:a16="http://schemas.microsoft.com/office/drawing/2014/main" id="{D6C84E88-FBB0-4715-9C39-A5558AC0BA74}"/>
              </a:ext>
            </a:extLst>
          </p:cNvPr>
          <p:cNvGrpSpPr/>
          <p:nvPr/>
        </p:nvGrpSpPr>
        <p:grpSpPr>
          <a:xfrm>
            <a:off x="8282380" y="2717573"/>
            <a:ext cx="1318661" cy="1279047"/>
            <a:chOff x="8433652" y="4053494"/>
            <a:chExt cx="1318661" cy="1279047"/>
          </a:xfrm>
        </p:grpSpPr>
        <p:sp>
          <p:nvSpPr>
            <p:cNvPr id="71" name="Rectangle 70">
              <a:extLst>
                <a:ext uri="{FF2B5EF4-FFF2-40B4-BE49-F238E27FC236}">
                  <a16:creationId xmlns:a16="http://schemas.microsoft.com/office/drawing/2014/main" id="{5BC60FB5-C811-4008-B41A-A7FA1C2E3113}"/>
                </a:ext>
              </a:extLst>
            </p:cNvPr>
            <p:cNvSpPr/>
            <p:nvPr/>
          </p:nvSpPr>
          <p:spPr>
            <a:xfrm>
              <a:off x="8735276" y="4053494"/>
              <a:ext cx="733726"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a:t>
              </a:r>
            </a:p>
          </p:txBody>
        </p:sp>
        <p:sp>
          <p:nvSpPr>
            <p:cNvPr id="69" name="Oval 68">
              <a:extLst>
                <a:ext uri="{FF2B5EF4-FFF2-40B4-BE49-F238E27FC236}">
                  <a16:creationId xmlns:a16="http://schemas.microsoft.com/office/drawing/2014/main" id="{4F9B1B2B-B64C-46FA-A9D1-A9627D9CFD30}"/>
                </a:ext>
              </a:extLst>
            </p:cNvPr>
            <p:cNvSpPr/>
            <p:nvPr/>
          </p:nvSpPr>
          <p:spPr>
            <a:xfrm>
              <a:off x="8433652" y="4076445"/>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A2D79633-040F-4F40-90D8-1CF3242B8E22}"/>
                </a:ext>
              </a:extLst>
            </p:cNvPr>
            <p:cNvGrpSpPr/>
            <p:nvPr/>
          </p:nvGrpSpPr>
          <p:grpSpPr>
            <a:xfrm>
              <a:off x="8600753" y="4529179"/>
              <a:ext cx="984457" cy="621522"/>
              <a:chOff x="8581701" y="4962374"/>
              <a:chExt cx="984457" cy="621522"/>
            </a:xfrm>
          </p:grpSpPr>
          <p:pic>
            <p:nvPicPr>
              <p:cNvPr id="3082" name="Picture 10" descr="Image result for Predict crystal ball question mark icon">
                <a:extLst>
                  <a:ext uri="{FF2B5EF4-FFF2-40B4-BE49-F238E27FC236}">
                    <a16:creationId xmlns:a16="http://schemas.microsoft.com/office/drawing/2014/main" id="{3FC7EA9F-6E85-4264-B1A5-565FBFBD697E}"/>
                  </a:ext>
                </a:extLst>
              </p:cNvPr>
              <p:cNvPicPr>
                <a:picLocks noChangeAspect="1" noChangeArrowheads="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8990" t="10332" r="9575" b="18057"/>
              <a:stretch/>
            </p:blipFill>
            <p:spPr bwMode="auto">
              <a:xfrm>
                <a:off x="8581701" y="4962374"/>
                <a:ext cx="984457" cy="621522"/>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85C278FA-1C5C-4FB7-A0C5-8FCBD9599E21}"/>
                  </a:ext>
                </a:extLst>
              </p:cNvPr>
              <p:cNvSpPr/>
              <p:nvPr/>
            </p:nvSpPr>
            <p:spPr>
              <a:xfrm>
                <a:off x="8929498" y="5061289"/>
                <a:ext cx="28886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a:t>
                </a:r>
              </a:p>
            </p:txBody>
          </p:sp>
        </p:grpSp>
      </p:grpSp>
      <p:pic>
        <p:nvPicPr>
          <p:cNvPr id="43" name="Picture 42">
            <a:extLst>
              <a:ext uri="{FF2B5EF4-FFF2-40B4-BE49-F238E27FC236}">
                <a16:creationId xmlns:a16="http://schemas.microsoft.com/office/drawing/2014/main" id="{9BC5A1E4-5936-4CE1-9BDB-B039ACDEEA3D}"/>
              </a:ext>
            </a:extLst>
          </p:cNvPr>
          <p:cNvPicPr>
            <a:picLocks noChangeAspect="1"/>
          </p:cNvPicPr>
          <p:nvPr/>
        </p:nvPicPr>
        <p:blipFill>
          <a:blip r:embed="rId9"/>
          <a:stretch>
            <a:fillRect/>
          </a:stretch>
        </p:blipFill>
        <p:spPr>
          <a:xfrm>
            <a:off x="1434002" y="2452424"/>
            <a:ext cx="548230" cy="1896232"/>
          </a:xfrm>
          <a:prstGeom prst="rect">
            <a:avLst/>
          </a:prstGeom>
        </p:spPr>
      </p:pic>
      <p:pic>
        <p:nvPicPr>
          <p:cNvPr id="44" name="Picture 43">
            <a:extLst>
              <a:ext uri="{FF2B5EF4-FFF2-40B4-BE49-F238E27FC236}">
                <a16:creationId xmlns:a16="http://schemas.microsoft.com/office/drawing/2014/main" id="{EE7EF724-90C4-47BA-821D-2326681E58D8}"/>
              </a:ext>
            </a:extLst>
          </p:cNvPr>
          <p:cNvPicPr>
            <a:picLocks noChangeAspect="1"/>
          </p:cNvPicPr>
          <p:nvPr/>
        </p:nvPicPr>
        <p:blipFill>
          <a:blip r:embed="rId10"/>
          <a:stretch>
            <a:fillRect/>
          </a:stretch>
        </p:blipFill>
        <p:spPr>
          <a:xfrm>
            <a:off x="3353560" y="4059128"/>
            <a:ext cx="1794897" cy="1178283"/>
          </a:xfrm>
          <a:prstGeom prst="rect">
            <a:avLst/>
          </a:prstGeom>
        </p:spPr>
      </p:pic>
      <p:pic>
        <p:nvPicPr>
          <p:cNvPr id="45" name="Picture 44">
            <a:extLst>
              <a:ext uri="{FF2B5EF4-FFF2-40B4-BE49-F238E27FC236}">
                <a16:creationId xmlns:a16="http://schemas.microsoft.com/office/drawing/2014/main" id="{7613724E-1BF6-4241-9335-705741BD955C}"/>
              </a:ext>
            </a:extLst>
          </p:cNvPr>
          <p:cNvPicPr>
            <a:picLocks noChangeAspect="1"/>
          </p:cNvPicPr>
          <p:nvPr/>
        </p:nvPicPr>
        <p:blipFill>
          <a:blip r:embed="rId11"/>
          <a:stretch>
            <a:fillRect/>
          </a:stretch>
        </p:blipFill>
        <p:spPr>
          <a:xfrm>
            <a:off x="3216618" y="1375217"/>
            <a:ext cx="2010243" cy="1294094"/>
          </a:xfrm>
          <a:prstGeom prst="rect">
            <a:avLst/>
          </a:prstGeom>
        </p:spPr>
      </p:pic>
      <p:grpSp>
        <p:nvGrpSpPr>
          <p:cNvPr id="46" name="Group 45">
            <a:extLst>
              <a:ext uri="{FF2B5EF4-FFF2-40B4-BE49-F238E27FC236}">
                <a16:creationId xmlns:a16="http://schemas.microsoft.com/office/drawing/2014/main" id="{71BFD541-20A2-4872-A95D-4D0EBCBA344E}"/>
              </a:ext>
            </a:extLst>
          </p:cNvPr>
          <p:cNvGrpSpPr/>
          <p:nvPr/>
        </p:nvGrpSpPr>
        <p:grpSpPr>
          <a:xfrm>
            <a:off x="9601041" y="1417839"/>
            <a:ext cx="2447804" cy="3701369"/>
            <a:chOff x="9601041" y="1417839"/>
            <a:chExt cx="2447804" cy="3701369"/>
          </a:xfrm>
        </p:grpSpPr>
        <p:grpSp>
          <p:nvGrpSpPr>
            <p:cNvPr id="19" name="Group 18">
              <a:extLst>
                <a:ext uri="{FF2B5EF4-FFF2-40B4-BE49-F238E27FC236}">
                  <a16:creationId xmlns:a16="http://schemas.microsoft.com/office/drawing/2014/main" id="{811F4146-3060-4C75-BF2D-89A3A828EF84}"/>
                </a:ext>
              </a:extLst>
            </p:cNvPr>
            <p:cNvGrpSpPr/>
            <p:nvPr/>
          </p:nvGrpSpPr>
          <p:grpSpPr>
            <a:xfrm>
              <a:off x="10280018" y="1417839"/>
              <a:ext cx="1768827" cy="3701369"/>
              <a:chOff x="10280018" y="1417839"/>
              <a:chExt cx="1768827" cy="3701369"/>
            </a:xfrm>
          </p:grpSpPr>
          <p:pic>
            <p:nvPicPr>
              <p:cNvPr id="18" name="Picture 17">
                <a:extLst>
                  <a:ext uri="{FF2B5EF4-FFF2-40B4-BE49-F238E27FC236}">
                    <a16:creationId xmlns:a16="http://schemas.microsoft.com/office/drawing/2014/main" id="{857B4A83-D150-483A-B5D0-9D73D11D1944}"/>
                  </a:ext>
                </a:extLst>
              </p:cNvPr>
              <p:cNvPicPr>
                <a:picLocks noChangeAspect="1"/>
              </p:cNvPicPr>
              <p:nvPr/>
            </p:nvPicPr>
            <p:blipFill>
              <a:blip r:embed="rId12">
                <a:duotone>
                  <a:schemeClr val="accent3">
                    <a:shade val="45000"/>
                    <a:satMod val="135000"/>
                  </a:schemeClr>
                  <a:prstClr val="white"/>
                </a:duotone>
              </a:blip>
              <a:stretch>
                <a:fillRect/>
              </a:stretch>
            </p:blipFill>
            <p:spPr>
              <a:xfrm>
                <a:off x="10280018" y="1443001"/>
                <a:ext cx="615749" cy="3676207"/>
              </a:xfrm>
              <a:prstGeom prst="rect">
                <a:avLst/>
              </a:prstGeom>
            </p:spPr>
          </p:pic>
          <p:sp>
            <p:nvSpPr>
              <p:cNvPr id="58" name="Rectangle 57">
                <a:extLst>
                  <a:ext uri="{FF2B5EF4-FFF2-40B4-BE49-F238E27FC236}">
                    <a16:creationId xmlns:a16="http://schemas.microsoft.com/office/drawing/2014/main" id="{E6B077CB-FDA8-4BE6-9280-9169C92794D5}"/>
                  </a:ext>
                </a:extLst>
              </p:cNvPr>
              <p:cNvSpPr/>
              <p:nvPr/>
            </p:nvSpPr>
            <p:spPr>
              <a:xfrm>
                <a:off x="10895767" y="1417839"/>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Web apps /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Services</a:t>
                </a:r>
              </a:p>
            </p:txBody>
          </p:sp>
          <p:sp>
            <p:nvSpPr>
              <p:cNvPr id="59" name="Rectangle 58">
                <a:extLst>
                  <a:ext uri="{FF2B5EF4-FFF2-40B4-BE49-F238E27FC236}">
                    <a16:creationId xmlns:a16="http://schemas.microsoft.com/office/drawing/2014/main" id="{F5FD755C-DBE7-4843-986D-0CD7DC5929BF}"/>
                  </a:ext>
                </a:extLst>
              </p:cNvPr>
              <p:cNvSpPr/>
              <p:nvPr/>
            </p:nvSpPr>
            <p:spPr>
              <a:xfrm>
                <a:off x="10826399" y="2172079"/>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Mobile apps</a:t>
                </a:r>
              </a:p>
            </p:txBody>
          </p:sp>
          <p:sp>
            <p:nvSpPr>
              <p:cNvPr id="60" name="Rectangle 59">
                <a:extLst>
                  <a:ext uri="{FF2B5EF4-FFF2-40B4-BE49-F238E27FC236}">
                    <a16:creationId xmlns:a16="http://schemas.microsoft.com/office/drawing/2014/main" id="{10BE51E0-BB94-44A3-8802-B0C919ABE0F4}"/>
                  </a:ext>
                </a:extLst>
              </p:cNvPr>
              <p:cNvSpPr/>
              <p:nvPr/>
            </p:nvSpPr>
            <p:spPr>
              <a:xfrm>
                <a:off x="10801237" y="3019494"/>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Desktop apps</a:t>
                </a:r>
              </a:p>
            </p:txBody>
          </p:sp>
          <p:sp>
            <p:nvSpPr>
              <p:cNvPr id="63" name="Rectangle 62">
                <a:extLst>
                  <a:ext uri="{FF2B5EF4-FFF2-40B4-BE49-F238E27FC236}">
                    <a16:creationId xmlns:a16="http://schemas.microsoft.com/office/drawing/2014/main" id="{4F6ECBE1-A606-4A5D-82F5-989E5C46245B}"/>
                  </a:ext>
                </a:extLst>
              </p:cNvPr>
              <p:cNvSpPr/>
              <p:nvPr/>
            </p:nvSpPr>
            <p:spPr>
              <a:xfrm>
                <a:off x="10801237" y="3870508"/>
                <a:ext cx="115307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Bots</a:t>
                </a:r>
              </a:p>
            </p:txBody>
          </p:sp>
          <p:sp>
            <p:nvSpPr>
              <p:cNvPr id="66" name="Rectangle 65">
                <a:extLst>
                  <a:ext uri="{FF2B5EF4-FFF2-40B4-BE49-F238E27FC236}">
                    <a16:creationId xmlns:a16="http://schemas.microsoft.com/office/drawing/2014/main" id="{79C637F4-260E-4279-8107-C537211A04FD}"/>
                  </a:ext>
                </a:extLst>
              </p:cNvPr>
              <p:cNvSpPr/>
              <p:nvPr/>
            </p:nvSpPr>
            <p:spPr>
              <a:xfrm>
                <a:off x="10801237" y="4708071"/>
                <a:ext cx="115307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IoT</a:t>
                </a:r>
              </a:p>
            </p:txBody>
          </p:sp>
        </p:grpSp>
        <p:cxnSp>
          <p:nvCxnSpPr>
            <p:cNvPr id="22" name="Straight Arrow Connector 21">
              <a:extLst>
                <a:ext uri="{FF2B5EF4-FFF2-40B4-BE49-F238E27FC236}">
                  <a16:creationId xmlns:a16="http://schemas.microsoft.com/office/drawing/2014/main" id="{8BEF722F-5B1F-48FB-9A17-F14B811B2782}"/>
                </a:ext>
              </a:extLst>
            </p:cNvPr>
            <p:cNvCxnSpPr>
              <a:cxnSpLocks/>
              <a:stCxn id="69" idx="6"/>
            </p:cNvCxnSpPr>
            <p:nvPr/>
          </p:nvCxnSpPr>
          <p:spPr>
            <a:xfrm flipV="1">
              <a:off x="9601041" y="2002221"/>
              <a:ext cx="678977" cy="1366351"/>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567D3D2-0DE4-4C90-8BBC-D790A07D8A96}"/>
                </a:ext>
              </a:extLst>
            </p:cNvPr>
            <p:cNvCxnSpPr>
              <a:cxnSpLocks/>
              <a:stCxn id="69" idx="6"/>
            </p:cNvCxnSpPr>
            <p:nvPr/>
          </p:nvCxnSpPr>
          <p:spPr>
            <a:xfrm flipV="1">
              <a:off x="9601041" y="2452424"/>
              <a:ext cx="678977" cy="916148"/>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5148EE0-8FA5-4913-AC7E-A185558C53C9}"/>
                </a:ext>
              </a:extLst>
            </p:cNvPr>
            <p:cNvCxnSpPr>
              <a:cxnSpLocks/>
              <a:stCxn id="69" idx="6"/>
            </p:cNvCxnSpPr>
            <p:nvPr/>
          </p:nvCxnSpPr>
          <p:spPr>
            <a:xfrm>
              <a:off x="9601041" y="3368572"/>
              <a:ext cx="557627" cy="7679"/>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86A02F9-2049-458A-80DB-A260CACC595C}"/>
                </a:ext>
              </a:extLst>
            </p:cNvPr>
            <p:cNvCxnSpPr>
              <a:cxnSpLocks/>
              <a:stCxn id="69" idx="6"/>
            </p:cNvCxnSpPr>
            <p:nvPr/>
          </p:nvCxnSpPr>
          <p:spPr>
            <a:xfrm>
              <a:off x="9601041" y="3368572"/>
              <a:ext cx="584573" cy="690556"/>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EAC45BA-1284-463C-9403-D6C72FB448EA}"/>
                </a:ext>
              </a:extLst>
            </p:cNvPr>
            <p:cNvCxnSpPr>
              <a:cxnSpLocks/>
              <a:stCxn id="69" idx="6"/>
            </p:cNvCxnSpPr>
            <p:nvPr/>
          </p:nvCxnSpPr>
          <p:spPr>
            <a:xfrm>
              <a:off x="9601041" y="3368572"/>
              <a:ext cx="678977" cy="1465620"/>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1029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right)">
                                      <p:cBhvr>
                                        <p:cTn id="23" dur="500"/>
                                        <p:tgtEl>
                                          <p:spTgt spid="4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500"/>
                                        <p:tgtEl>
                                          <p:spTgt spid="85"/>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down)">
                                      <p:cBhvr>
                                        <p:cTn id="31" dur="500"/>
                                        <p:tgtEl>
                                          <p:spTgt spid="43"/>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80"/>
                                        </p:tgtEl>
                                        <p:attrNameLst>
                                          <p:attrName>style.visibility</p:attrName>
                                        </p:attrNameLst>
                                      </p:cBhvr>
                                      <p:to>
                                        <p:strVal val="visible"/>
                                      </p:to>
                                    </p:set>
                                    <p:animEffect transition="in" filter="wipe(left)">
                                      <p:cBhvr>
                                        <p:cTn id="35" dur="500"/>
                                        <p:tgtEl>
                                          <p:spTgt spid="8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wipe(left)">
                                      <p:cBhvr>
                                        <p:cTn id="45" dur="500"/>
                                        <p:tgtEl>
                                          <p:spTgt spid="42"/>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500"/>
                                        <p:tgtEl>
                                          <p:spTgt spid="2"/>
                                        </p:tgtEl>
                                      </p:cBhvr>
                                    </p:animEffect>
                                  </p:childTnLst>
                                </p:cTn>
                              </p:par>
                            </p:childTnLst>
                          </p:cTn>
                        </p:par>
                        <p:par>
                          <p:cTn id="50" fill="hold">
                            <p:stCondLst>
                              <p:cond delay="1000"/>
                            </p:stCondLst>
                            <p:childTnLst>
                              <p:par>
                                <p:cTn id="51" presetID="22" presetClass="entr" presetSubtype="8" fill="hold" grpId="0" nodeType="after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wipe(left)">
                                      <p:cBhvr>
                                        <p:cTn id="53" dur="500"/>
                                        <p:tgtEl>
                                          <p:spTgt spid="6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46"/>
                                        </p:tgtEl>
                                        <p:attrNameLst>
                                          <p:attrName>style.visibility</p:attrName>
                                        </p:attrNameLst>
                                      </p:cBhvr>
                                      <p:to>
                                        <p:strVal val="visible"/>
                                      </p:to>
                                    </p:set>
                                    <p:animEffect transition="in" filter="wipe(left)">
                                      <p:cBhvr>
                                        <p:cTn id="5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2" grpId="0" animBg="1"/>
      <p:bldP spid="6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CD5A997-8233-4ACB-8211-5852F0AC36D6}"/>
              </a:ext>
            </a:extLst>
          </p:cNvPr>
          <p:cNvGrpSpPr/>
          <p:nvPr/>
        </p:nvGrpSpPr>
        <p:grpSpPr>
          <a:xfrm>
            <a:off x="255375" y="3984107"/>
            <a:ext cx="2584879" cy="831587"/>
            <a:chOff x="413448" y="3327187"/>
            <a:chExt cx="2584878" cy="831586"/>
          </a:xfrm>
        </p:grpSpPr>
        <p:sp>
          <p:nvSpPr>
            <p:cNvPr id="7" name="TextBox 6">
              <a:extLst>
                <a:ext uri="{FF2B5EF4-FFF2-40B4-BE49-F238E27FC236}">
                  <a16:creationId xmlns:a16="http://schemas.microsoft.com/office/drawing/2014/main" id="{3A1F366E-8954-44FE-96DF-F74D4D0A5A52}"/>
                </a:ext>
              </a:extLst>
            </p:cNvPr>
            <p:cNvSpPr txBox="1"/>
            <p:nvPr/>
          </p:nvSpPr>
          <p:spPr>
            <a:xfrm>
              <a:off x="1613529" y="332718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8" name="Rectangle 7">
              <a:extLst>
                <a:ext uri="{FF2B5EF4-FFF2-40B4-BE49-F238E27FC236}">
                  <a16:creationId xmlns:a16="http://schemas.microsoft.com/office/drawing/2014/main" id="{A9CE5881-7DCE-4F22-812C-759B5FAE380D}"/>
                </a:ext>
              </a:extLst>
            </p:cNvPr>
            <p:cNvSpPr/>
            <p:nvPr/>
          </p:nvSpPr>
          <p:spPr>
            <a:xfrm>
              <a:off x="413448" y="3789441"/>
              <a:ext cx="2584878" cy="36933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grpSp>
      <p:sp>
        <p:nvSpPr>
          <p:cNvPr id="10" name="TextBox 9">
            <a:extLst>
              <a:ext uri="{FF2B5EF4-FFF2-40B4-BE49-F238E27FC236}">
                <a16:creationId xmlns:a16="http://schemas.microsoft.com/office/drawing/2014/main" id="{C66BF9E9-D96A-461D-BF51-E1648F0CEC6F}"/>
              </a:ext>
            </a:extLst>
          </p:cNvPr>
          <p:cNvSpPr txBox="1"/>
          <p:nvPr/>
        </p:nvSpPr>
        <p:spPr>
          <a:xfrm>
            <a:off x="6564525" y="4028937"/>
            <a:ext cx="2446054"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Proven &amp; Extensible</a:t>
            </a:r>
          </a:p>
        </p:txBody>
      </p:sp>
      <p:grpSp>
        <p:nvGrpSpPr>
          <p:cNvPr id="12" name="Group 11">
            <a:extLst>
              <a:ext uri="{FF2B5EF4-FFF2-40B4-BE49-F238E27FC236}">
                <a16:creationId xmlns:a16="http://schemas.microsoft.com/office/drawing/2014/main" id="{8DE54F39-BB35-4491-8E3B-629EDD684D5E}"/>
              </a:ext>
            </a:extLst>
          </p:cNvPr>
          <p:cNvGrpSpPr/>
          <p:nvPr/>
        </p:nvGrpSpPr>
        <p:grpSpPr>
          <a:xfrm>
            <a:off x="3210768" y="3982532"/>
            <a:ext cx="2584879" cy="800809"/>
            <a:chOff x="413448" y="3327187"/>
            <a:chExt cx="2584878" cy="800808"/>
          </a:xfrm>
        </p:grpSpPr>
        <p:sp>
          <p:nvSpPr>
            <p:cNvPr id="13" name="TextBox 12">
              <a:extLst>
                <a:ext uri="{FF2B5EF4-FFF2-40B4-BE49-F238E27FC236}">
                  <a16:creationId xmlns:a16="http://schemas.microsoft.com/office/drawing/2014/main" id="{E76CD50B-1391-45F3-B90B-20DE6FFBA622}"/>
                </a:ext>
              </a:extLst>
            </p:cNvPr>
            <p:cNvSpPr txBox="1"/>
            <p:nvPr/>
          </p:nvSpPr>
          <p:spPr>
            <a:xfrm>
              <a:off x="1613553" y="332718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14" name="Rectangle 13">
              <a:extLst>
                <a:ext uri="{FF2B5EF4-FFF2-40B4-BE49-F238E27FC236}">
                  <a16:creationId xmlns:a16="http://schemas.microsoft.com/office/drawing/2014/main" id="{06D1D17B-3919-48B9-B2C8-F3F9060EE1E0}"/>
                </a:ext>
              </a:extLst>
            </p:cNvPr>
            <p:cNvSpPr/>
            <p:nvPr/>
          </p:nvSpPr>
          <p:spPr>
            <a:xfrm>
              <a:off x="413448" y="3789441"/>
              <a:ext cx="2584878" cy="338554"/>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grpSp>
      <p:grpSp>
        <p:nvGrpSpPr>
          <p:cNvPr id="15" name="Group 14">
            <a:extLst>
              <a:ext uri="{FF2B5EF4-FFF2-40B4-BE49-F238E27FC236}">
                <a16:creationId xmlns:a16="http://schemas.microsoft.com/office/drawing/2014/main" id="{5AB36088-DB7C-407E-8B12-B8CBB54D3ECB}"/>
              </a:ext>
            </a:extLst>
          </p:cNvPr>
          <p:cNvGrpSpPr/>
          <p:nvPr/>
        </p:nvGrpSpPr>
        <p:grpSpPr>
          <a:xfrm>
            <a:off x="9154401" y="4018949"/>
            <a:ext cx="2584879" cy="1015663"/>
            <a:chOff x="413448" y="3368021"/>
            <a:chExt cx="2584878" cy="1015662"/>
          </a:xfrm>
        </p:grpSpPr>
        <p:sp>
          <p:nvSpPr>
            <p:cNvPr id="16" name="TextBox 15">
              <a:extLst>
                <a:ext uri="{FF2B5EF4-FFF2-40B4-BE49-F238E27FC236}">
                  <a16:creationId xmlns:a16="http://schemas.microsoft.com/office/drawing/2014/main" id="{0A40B52F-C235-4E5A-A479-A5D4FD922D7E}"/>
                </a:ext>
              </a:extLst>
            </p:cNvPr>
            <p:cNvSpPr txBox="1"/>
            <p:nvPr/>
          </p:nvSpPr>
          <p:spPr>
            <a:xfrm>
              <a:off x="826683" y="3368021"/>
              <a:ext cx="1833450" cy="101566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Open Sourc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amp;</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Cross Platform</a:t>
              </a:r>
            </a:p>
          </p:txBody>
        </p:sp>
        <p:sp>
          <p:nvSpPr>
            <p:cNvPr id="17" name="Rectangle 16">
              <a:extLst>
                <a:ext uri="{FF2B5EF4-FFF2-40B4-BE49-F238E27FC236}">
                  <a16:creationId xmlns:a16="http://schemas.microsoft.com/office/drawing/2014/main" id="{17F46E4D-23EA-4AE5-9808-4C11E2FA8069}"/>
                </a:ext>
              </a:extLst>
            </p:cNvPr>
            <p:cNvSpPr/>
            <p:nvPr/>
          </p:nvSpPr>
          <p:spPr>
            <a:xfrm>
              <a:off x="413448" y="3789440"/>
              <a:ext cx="2584878" cy="276999"/>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p:txBody>
        </p:sp>
      </p:grpSp>
      <p:sp>
        <p:nvSpPr>
          <p:cNvPr id="21" name="Rectangle 20">
            <a:extLst>
              <a:ext uri="{FF2B5EF4-FFF2-40B4-BE49-F238E27FC236}">
                <a16:creationId xmlns:a16="http://schemas.microsoft.com/office/drawing/2014/main" id="{F61F67B3-3A57-485C-8DC5-E955E82F6DB4}"/>
              </a:ext>
            </a:extLst>
          </p:cNvPr>
          <p:cNvSpPr/>
          <p:nvPr/>
        </p:nvSpPr>
        <p:spPr>
          <a:xfrm>
            <a:off x="-122275" y="5990966"/>
            <a:ext cx="12191999" cy="461665"/>
          </a:xfrm>
          <a:prstGeom prst="rect">
            <a:avLst/>
          </a:prstGeom>
        </p:spPr>
        <p:txBody>
          <a:bodyPr wrap="square"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75BDA7"/>
                </a:solidFill>
                <a:effectLst/>
                <a:uLnTx/>
                <a:uFillTx/>
                <a:latin typeface="Segoe UI" panose="020B0502040204020203" pitchFamily="34" charset="0"/>
                <a:ea typeface="Segoe UI" charset="0"/>
                <a:cs typeface="Segoe UI" panose="020B0502040204020203" pitchFamily="34" charset="0"/>
                <a:hlinkClick r:id="rId3"/>
              </a:rPr>
              <a:t>https://github.com/dotnet/machinelearning</a:t>
            </a:r>
            <a:endParaRPr kumimoji="0" lang="en-US" sz="2400" b="0" i="0" u="none" strike="noStrike" kern="1200" cap="none" spc="0" normalizeH="0" baseline="0" noProof="0" dirty="0">
              <a:ln>
                <a:noFill/>
              </a:ln>
              <a:solidFill>
                <a:srgbClr val="75BDA7"/>
              </a:solidFill>
              <a:effectLst/>
              <a:uLnTx/>
              <a:uFillTx/>
              <a:latin typeface="Segoe UI" panose="020B0502040204020203" pitchFamily="34" charset="0"/>
              <a:ea typeface="Segoe UI" charset="0"/>
              <a:cs typeface="Segoe UI" panose="020B0502040204020203" pitchFamily="34" charset="0"/>
            </a:endParaRPr>
          </a:p>
        </p:txBody>
      </p:sp>
      <p:grpSp>
        <p:nvGrpSpPr>
          <p:cNvPr id="18" name="Group 17">
            <a:extLst>
              <a:ext uri="{FF2B5EF4-FFF2-40B4-BE49-F238E27FC236}">
                <a16:creationId xmlns:a16="http://schemas.microsoft.com/office/drawing/2014/main" id="{7CA4C133-1373-4CA5-83FD-E0169937AE5B}"/>
              </a:ext>
            </a:extLst>
          </p:cNvPr>
          <p:cNvGrpSpPr/>
          <p:nvPr/>
        </p:nvGrpSpPr>
        <p:grpSpPr>
          <a:xfrm>
            <a:off x="-292562" y="4015277"/>
            <a:ext cx="3104720" cy="924367"/>
            <a:chOff x="153527" y="3357517"/>
            <a:chExt cx="3104720" cy="924366"/>
          </a:xfrm>
        </p:grpSpPr>
        <p:sp>
          <p:nvSpPr>
            <p:cNvPr id="19" name="TextBox 18">
              <a:extLst>
                <a:ext uri="{FF2B5EF4-FFF2-40B4-BE49-F238E27FC236}">
                  <a16:creationId xmlns:a16="http://schemas.microsoft.com/office/drawing/2014/main" id="{D738E135-E01B-452A-B816-D8E158B7B687}"/>
                </a:ext>
              </a:extLst>
            </p:cNvPr>
            <p:cNvSpPr txBox="1"/>
            <p:nvPr/>
          </p:nvSpPr>
          <p:spPr>
            <a:xfrm>
              <a:off x="1048649" y="3357517"/>
              <a:ext cx="1885773"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Build your own</a:t>
              </a:r>
            </a:p>
          </p:txBody>
        </p:sp>
        <p:sp>
          <p:nvSpPr>
            <p:cNvPr id="20" name="Rectangle 19">
              <a:extLst>
                <a:ext uri="{FF2B5EF4-FFF2-40B4-BE49-F238E27FC236}">
                  <a16:creationId xmlns:a16="http://schemas.microsoft.com/office/drawing/2014/main" id="{2951E782-ED72-4882-A83B-1B9C6FDC0937}"/>
                </a:ext>
              </a:extLst>
            </p:cNvPr>
            <p:cNvSpPr/>
            <p:nvPr/>
          </p:nvSpPr>
          <p:spPr>
            <a:xfrm>
              <a:off x="153527" y="3789441"/>
              <a:ext cx="3104720" cy="49244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p:txBody>
        </p:sp>
      </p:grpSp>
      <p:sp>
        <p:nvSpPr>
          <p:cNvPr id="22" name="Rectangle 21">
            <a:extLst>
              <a:ext uri="{FF2B5EF4-FFF2-40B4-BE49-F238E27FC236}">
                <a16:creationId xmlns:a16="http://schemas.microsoft.com/office/drawing/2014/main" id="{8D2EF940-14F6-4319-80BE-96D2D5436600}"/>
              </a:ext>
            </a:extLst>
          </p:cNvPr>
          <p:cNvSpPr/>
          <p:nvPr/>
        </p:nvSpPr>
        <p:spPr>
          <a:xfrm>
            <a:off x="2923267" y="4492529"/>
            <a:ext cx="3104720" cy="36933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sp>
        <p:nvSpPr>
          <p:cNvPr id="2" name="TextBox 1">
            <a:extLst>
              <a:ext uri="{FF2B5EF4-FFF2-40B4-BE49-F238E27FC236}">
                <a16:creationId xmlns:a16="http://schemas.microsoft.com/office/drawing/2014/main" id="{0D2C2224-4540-476E-83EE-D9382EFA647A}"/>
              </a:ext>
            </a:extLst>
          </p:cNvPr>
          <p:cNvSpPr txBox="1"/>
          <p:nvPr/>
        </p:nvSpPr>
        <p:spPr>
          <a:xfrm>
            <a:off x="3698970" y="421462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49DE5080-127F-4724-A994-E6EA34B4F735}"/>
              </a:ext>
            </a:extLst>
          </p:cNvPr>
          <p:cNvSpPr txBox="1"/>
          <p:nvPr/>
        </p:nvSpPr>
        <p:spPr>
          <a:xfrm>
            <a:off x="4423265" y="398311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3" name="Rectangle 2">
            <a:extLst>
              <a:ext uri="{FF2B5EF4-FFF2-40B4-BE49-F238E27FC236}">
                <a16:creationId xmlns:a16="http://schemas.microsoft.com/office/drawing/2014/main" id="{934DB1C6-B0BD-4A2F-A3C3-60CCD5120E3A}"/>
              </a:ext>
            </a:extLst>
          </p:cNvPr>
          <p:cNvSpPr/>
          <p:nvPr/>
        </p:nvSpPr>
        <p:spPr>
          <a:xfrm>
            <a:off x="4075647" y="1567433"/>
            <a:ext cx="415799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upported on Windows, Linux, and macOS)</a:t>
            </a:r>
          </a:p>
        </p:txBody>
      </p:sp>
      <p:sp>
        <p:nvSpPr>
          <p:cNvPr id="35" name="TextBox 34">
            <a:extLst>
              <a:ext uri="{FF2B5EF4-FFF2-40B4-BE49-F238E27FC236}">
                <a16:creationId xmlns:a16="http://schemas.microsoft.com/office/drawing/2014/main" id="{CC99AFB4-D2A5-408A-9C6A-0B5A40675F84}"/>
              </a:ext>
            </a:extLst>
          </p:cNvPr>
          <p:cNvSpPr txBox="1"/>
          <p:nvPr/>
        </p:nvSpPr>
        <p:spPr>
          <a:xfrm>
            <a:off x="3345789" y="4018951"/>
            <a:ext cx="2348848"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Developer Focused</a:t>
            </a:r>
          </a:p>
        </p:txBody>
      </p:sp>
      <p:pic>
        <p:nvPicPr>
          <p:cNvPr id="25" name="Picture 24">
            <a:extLst>
              <a:ext uri="{FF2B5EF4-FFF2-40B4-BE49-F238E27FC236}">
                <a16:creationId xmlns:a16="http://schemas.microsoft.com/office/drawing/2014/main" id="{5E6BF7C4-37FE-456A-BA33-9E47347C3D46}"/>
              </a:ext>
            </a:extLst>
          </p:cNvPr>
          <p:cNvPicPr>
            <a:picLocks noChangeAspect="1"/>
          </p:cNvPicPr>
          <p:nvPr/>
        </p:nvPicPr>
        <p:blipFill>
          <a:blip r:embed="rId4">
            <a:duotone>
              <a:schemeClr val="accent4">
                <a:shade val="45000"/>
                <a:satMod val="135000"/>
              </a:schemeClr>
              <a:prstClr val="white"/>
            </a:duotone>
          </a:blip>
          <a:stretch>
            <a:fillRect/>
          </a:stretch>
        </p:blipFill>
        <p:spPr>
          <a:xfrm>
            <a:off x="1128427" y="2922236"/>
            <a:ext cx="654058" cy="972630"/>
          </a:xfrm>
          <a:prstGeom prst="rect">
            <a:avLst/>
          </a:prstGeom>
        </p:spPr>
      </p:pic>
      <p:pic>
        <p:nvPicPr>
          <p:cNvPr id="36" name="Picture 35">
            <a:extLst>
              <a:ext uri="{FF2B5EF4-FFF2-40B4-BE49-F238E27FC236}">
                <a16:creationId xmlns:a16="http://schemas.microsoft.com/office/drawing/2014/main" id="{189B7DB6-138B-4C6A-8C8D-90A6E1A5721A}"/>
              </a:ext>
            </a:extLst>
          </p:cNvPr>
          <p:cNvPicPr>
            <a:picLocks noChangeAspect="1"/>
          </p:cNvPicPr>
          <p:nvPr/>
        </p:nvPicPr>
        <p:blipFill>
          <a:blip r:embed="rId5">
            <a:duotone>
              <a:schemeClr val="accent4">
                <a:shade val="45000"/>
                <a:satMod val="135000"/>
              </a:schemeClr>
              <a:prstClr val="white"/>
            </a:duotone>
          </a:blip>
          <a:stretch>
            <a:fillRect/>
          </a:stretch>
        </p:blipFill>
        <p:spPr>
          <a:xfrm>
            <a:off x="10124976" y="2902017"/>
            <a:ext cx="1003349" cy="1076099"/>
          </a:xfrm>
          <a:prstGeom prst="rect">
            <a:avLst/>
          </a:prstGeom>
        </p:spPr>
      </p:pic>
      <p:pic>
        <p:nvPicPr>
          <p:cNvPr id="37" name="Picture 36">
            <a:extLst>
              <a:ext uri="{FF2B5EF4-FFF2-40B4-BE49-F238E27FC236}">
                <a16:creationId xmlns:a16="http://schemas.microsoft.com/office/drawing/2014/main" id="{AE5B7D2D-326D-4D07-9B7F-B350930711C0}"/>
              </a:ext>
            </a:extLst>
          </p:cNvPr>
          <p:cNvPicPr>
            <a:picLocks noChangeAspect="1"/>
          </p:cNvPicPr>
          <p:nvPr/>
        </p:nvPicPr>
        <p:blipFill>
          <a:blip r:embed="rId6">
            <a:duotone>
              <a:schemeClr val="accent4">
                <a:shade val="45000"/>
                <a:satMod val="135000"/>
              </a:schemeClr>
              <a:prstClr val="white"/>
            </a:duotone>
          </a:blip>
          <a:stretch>
            <a:fillRect/>
          </a:stretch>
        </p:blipFill>
        <p:spPr>
          <a:xfrm>
            <a:off x="7248775" y="2902017"/>
            <a:ext cx="1200522" cy="1053965"/>
          </a:xfrm>
          <a:prstGeom prst="rect">
            <a:avLst/>
          </a:prstGeom>
        </p:spPr>
      </p:pic>
      <p:pic>
        <p:nvPicPr>
          <p:cNvPr id="26" name="Picture 25">
            <a:extLst>
              <a:ext uri="{FF2B5EF4-FFF2-40B4-BE49-F238E27FC236}">
                <a16:creationId xmlns:a16="http://schemas.microsoft.com/office/drawing/2014/main" id="{CD0AE878-AC6C-4D3B-98D5-120661D569B0}"/>
              </a:ext>
            </a:extLst>
          </p:cNvPr>
          <p:cNvPicPr>
            <a:picLocks noChangeAspect="1"/>
          </p:cNvPicPr>
          <p:nvPr/>
        </p:nvPicPr>
        <p:blipFill>
          <a:blip r:embed="rId7">
            <a:duotone>
              <a:schemeClr val="accent4">
                <a:shade val="45000"/>
                <a:satMod val="135000"/>
              </a:schemeClr>
              <a:prstClr val="white"/>
            </a:duotone>
          </a:blip>
          <a:stretch>
            <a:fillRect/>
          </a:stretch>
        </p:blipFill>
        <p:spPr>
          <a:xfrm>
            <a:off x="3959839" y="2902017"/>
            <a:ext cx="1111582" cy="1124659"/>
          </a:xfrm>
          <a:prstGeom prst="rect">
            <a:avLst/>
          </a:prstGeom>
        </p:spPr>
      </p:pic>
      <p:sp>
        <p:nvSpPr>
          <p:cNvPr id="23" name="Title 22">
            <a:extLst>
              <a:ext uri="{FF2B5EF4-FFF2-40B4-BE49-F238E27FC236}">
                <a16:creationId xmlns:a16="http://schemas.microsoft.com/office/drawing/2014/main" id="{3085ADC1-D6BC-44EE-879F-ED53D5ADC1AB}"/>
              </a:ext>
            </a:extLst>
          </p:cNvPr>
          <p:cNvSpPr>
            <a:spLocks noGrp="1"/>
          </p:cNvSpPr>
          <p:nvPr>
            <p:ph type="title"/>
          </p:nvPr>
        </p:nvSpPr>
        <p:spPr>
          <a:xfrm>
            <a:off x="1044366" y="101999"/>
            <a:ext cx="9552462" cy="902876"/>
          </a:xfrm>
        </p:spPr>
        <p:txBody>
          <a:bodyPr>
            <a:normAutofit/>
          </a:bodyPr>
          <a:lstStyle/>
          <a:p>
            <a:pPr algn="ctr"/>
            <a:r>
              <a:rPr lang="en-US" sz="5400" spc="-100" dirty="0">
                <a:ln w="3175">
                  <a:noFill/>
                </a:ln>
                <a:solidFill>
                  <a:schemeClr val="tx1"/>
                </a:solidFill>
                <a:latin typeface="Segoe UI Light" panose="020B0502040204020203" pitchFamily="34" charset="0"/>
                <a:cs typeface="Segoe UI Light" panose="020B0502040204020203" pitchFamily="34" charset="0"/>
              </a:rPr>
              <a:t>Introducing ML.NET</a:t>
            </a:r>
          </a:p>
        </p:txBody>
      </p:sp>
      <p:sp>
        <p:nvSpPr>
          <p:cNvPr id="27" name="Text Placeholder 26">
            <a:extLst>
              <a:ext uri="{FF2B5EF4-FFF2-40B4-BE49-F238E27FC236}">
                <a16:creationId xmlns:a16="http://schemas.microsoft.com/office/drawing/2014/main" id="{7230961A-6630-4478-B529-AA2BEF87CBB5}"/>
              </a:ext>
            </a:extLst>
          </p:cNvPr>
          <p:cNvSpPr>
            <a:spLocks noGrp="1"/>
          </p:cNvSpPr>
          <p:nvPr>
            <p:ph type="body" idx="11"/>
          </p:nvPr>
        </p:nvSpPr>
        <p:spPr>
          <a:xfrm>
            <a:off x="278054" y="975624"/>
            <a:ext cx="11582400" cy="430887"/>
          </a:xfrm>
        </p:spPr>
        <p:txBody>
          <a:bodyPr/>
          <a:lstStyle/>
          <a:p>
            <a:pPr algn="ctr"/>
            <a:r>
              <a:rPr lang="en-US" sz="2800" dirty="0">
                <a:solidFill>
                  <a:schemeClr val="tx1"/>
                </a:solidFill>
                <a:latin typeface="Segoe UI" panose="020B0502040204020203" pitchFamily="34" charset="0"/>
                <a:cs typeface="Segoe UI" panose="020B0502040204020203" pitchFamily="34" charset="0"/>
              </a:rPr>
              <a:t>Machine Learning </a:t>
            </a:r>
            <a:r>
              <a:rPr lang="en-US" sz="2800" b="1" u="sng" dirty="0">
                <a:solidFill>
                  <a:schemeClr val="tx1"/>
                </a:solidFill>
                <a:latin typeface="Segoe UI" panose="020B0502040204020203" pitchFamily="34" charset="0"/>
                <a:cs typeface="Segoe UI" panose="020B0502040204020203" pitchFamily="34" charset="0"/>
              </a:rPr>
              <a:t>framework</a:t>
            </a:r>
            <a:r>
              <a:rPr lang="en-US" sz="2800" dirty="0">
                <a:solidFill>
                  <a:schemeClr val="tx1"/>
                </a:solidFill>
                <a:latin typeface="Segoe UI" panose="020B0502040204020203" pitchFamily="34" charset="0"/>
                <a:cs typeface="Segoe UI" panose="020B0502040204020203" pitchFamily="34" charset="0"/>
              </a:rPr>
              <a:t> made for .NET developers</a:t>
            </a:r>
          </a:p>
        </p:txBody>
      </p:sp>
      <p:sp>
        <p:nvSpPr>
          <p:cNvPr id="28" name="Title 22">
            <a:extLst>
              <a:ext uri="{FF2B5EF4-FFF2-40B4-BE49-F238E27FC236}">
                <a16:creationId xmlns:a16="http://schemas.microsoft.com/office/drawing/2014/main" id="{90BEFFEA-59E4-4FC3-A06E-69A8DD7439A0}"/>
              </a:ext>
            </a:extLst>
          </p:cNvPr>
          <p:cNvSpPr txBox="1">
            <a:spLocks/>
          </p:cNvSpPr>
          <p:nvPr/>
        </p:nvSpPr>
        <p:spPr>
          <a:xfrm>
            <a:off x="9256426" y="87374"/>
            <a:ext cx="2282431" cy="902876"/>
          </a:xfrm>
          <a:prstGeom prst="rect">
            <a:avLst/>
          </a:prstGeom>
          <a:solidFill>
            <a:srgbClr val="FFFF00"/>
          </a:solidFill>
        </p:spPr>
        <p:txBody>
          <a:bodyPr vert="horz" lIns="0" tIns="0" rIns="0" bIns="0" rtlCol="0" anchor="ctr">
            <a:normAutofit fontScale="97500"/>
          </a:bodyPr>
          <a:lstStyle>
            <a:lvl1pPr algn="l" defTabSz="914400" rtl="0" eaLnBrk="1" latinLnBrk="0" hangingPunct="1">
              <a:lnSpc>
                <a:spcPct val="90000"/>
              </a:lnSpc>
              <a:spcBef>
                <a:spcPct val="0"/>
              </a:spcBef>
              <a:buNone/>
              <a:defRPr sz="5867" kern="1200">
                <a:solidFill>
                  <a:schemeClr val="tx2"/>
                </a:solidFill>
                <a:latin typeface="Segoe UI Light"/>
                <a:ea typeface="+mj-ea"/>
                <a:cs typeface="Segoe UI Ligh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Segoe UI Light"/>
                <a:ea typeface="+mj-ea"/>
                <a:cs typeface="Segoe UI Light"/>
              </a:rPr>
              <a:t>Currently in </a:t>
            </a:r>
            <a:r>
              <a:rPr kumimoji="0" lang="en-US" sz="2400" b="1" i="0" u="none" strike="noStrike" kern="1200" cap="none" spc="0" normalizeH="0" baseline="0" noProof="0" dirty="0">
                <a:ln>
                  <a:noFill/>
                </a:ln>
                <a:solidFill>
                  <a:srgbClr val="FF0000"/>
                </a:solidFill>
                <a:effectLst/>
                <a:uLnTx/>
                <a:uFillTx/>
                <a:latin typeface="Calibri" panose="020F0502020204030204"/>
                <a:ea typeface="+mj-ea"/>
                <a:cs typeface="Segoe UI Light"/>
                <a:hlinkClick r:id="rId8"/>
              </a:rPr>
              <a:t>v0.5</a:t>
            </a:r>
            <a:r>
              <a:rPr kumimoji="0" lang="en-US" sz="2400" b="0" i="0" u="none" strike="noStrike" kern="1200" cap="none" spc="0" normalizeH="0" baseline="0" noProof="0" dirty="0">
                <a:ln>
                  <a:noFill/>
                </a:ln>
                <a:solidFill>
                  <a:srgbClr val="FF0000"/>
                </a:solidFill>
                <a:effectLst/>
                <a:uLnTx/>
                <a:uFillTx/>
                <a:latin typeface="Segoe UI Light"/>
                <a:ea typeface="+mj-ea"/>
                <a:cs typeface="Segoe UI Light"/>
              </a:rPr>
              <a:t> preview Sept-2018</a:t>
            </a:r>
            <a:endParaRPr kumimoji="0" lang="en-US" sz="4800" b="0" i="0" u="none" strike="noStrike" kern="1200" cap="none" spc="0" normalizeH="0" baseline="0" noProof="0" dirty="0">
              <a:ln>
                <a:noFill/>
              </a:ln>
              <a:solidFill>
                <a:srgbClr val="FF0000"/>
              </a:solidFill>
              <a:effectLst/>
              <a:uLnTx/>
              <a:uFillTx/>
              <a:latin typeface="Segoe UI Light"/>
              <a:ea typeface="+mj-ea"/>
              <a:cs typeface="Segoe UI Light"/>
            </a:endParaRPr>
          </a:p>
        </p:txBody>
      </p:sp>
    </p:spTree>
    <p:extLst>
      <p:ext uri="{BB962C8B-B14F-4D97-AF65-F5344CB8AC3E}">
        <p14:creationId xmlns:p14="http://schemas.microsoft.com/office/powerpoint/2010/main" val="2626016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1500"/>
                                  </p:stCondLst>
                                  <p:childTnLst>
                                    <p:set>
                                      <p:cBhvr>
                                        <p:cTn id="6" dur="1" fill="hold">
                                          <p:stCondLst>
                                            <p:cond delay="0"/>
                                          </p:stCondLst>
                                        </p:cTn>
                                        <p:tgtEl>
                                          <p:spTgt spid="28"/>
                                        </p:tgtEl>
                                        <p:attrNameLst>
                                          <p:attrName>style.visibility</p:attrName>
                                        </p:attrNameLst>
                                      </p:cBhvr>
                                      <p:to>
                                        <p:strVal val="visible"/>
                                      </p:to>
                                    </p:set>
                                    <p:animEffect transition="in" filter="wipe(down)">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1948" y="2930402"/>
            <a:ext cx="9144000" cy="498598"/>
          </a:xfrm>
        </p:spPr>
        <p:txBody>
          <a:bodyPr/>
          <a:lstStyle/>
          <a:p>
            <a:r>
              <a:rPr lang="en-US" dirty="0"/>
              <a:t>What is Machine Learning?</a:t>
            </a:r>
          </a:p>
        </p:txBody>
      </p:sp>
    </p:spTree>
    <p:extLst>
      <p:ext uri="{BB962C8B-B14F-4D97-AF65-F5344CB8AC3E}">
        <p14:creationId xmlns:p14="http://schemas.microsoft.com/office/powerpoint/2010/main" val="312447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6" descr="Image result for File icon">
            <a:extLst>
              <a:ext uri="{FF2B5EF4-FFF2-40B4-BE49-F238E27FC236}">
                <a16:creationId xmlns:a16="http://schemas.microsoft.com/office/drawing/2014/main" id="{34B44D3F-C4F6-4ACC-8640-229982107E58}"/>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6779" y="2886540"/>
            <a:ext cx="543235" cy="648433"/>
          </a:xfrm>
          <a:prstGeom prst="rect">
            <a:avLst/>
          </a:prstGeom>
          <a:noFill/>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D21F5AEF-0EBB-42EF-9641-1C3A74BB2467}"/>
              </a:ext>
            </a:extLst>
          </p:cNvPr>
          <p:cNvSpPr/>
          <p:nvPr/>
        </p:nvSpPr>
        <p:spPr>
          <a:xfrm>
            <a:off x="1362719" y="1344154"/>
            <a:ext cx="3639902" cy="3636382"/>
          </a:xfrm>
          <a:prstGeom prst="ellipse">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09721F8E-9EFF-44D5-8579-A603E6644F90}"/>
              </a:ext>
            </a:extLst>
          </p:cNvPr>
          <p:cNvSpPr>
            <a:spLocks noGrp="1"/>
          </p:cNvSpPr>
          <p:nvPr>
            <p:ph type="title"/>
          </p:nvPr>
        </p:nvSpPr>
        <p:spPr>
          <a:xfrm>
            <a:off x="318114" y="149144"/>
            <a:ext cx="11555771" cy="763424"/>
          </a:xfrm>
        </p:spPr>
        <p:txBody>
          <a:bodyPr>
            <a:noAutofit/>
          </a:bodyPr>
          <a:lstStyle/>
          <a:p>
            <a:r>
              <a:rPr lang="en-US" sz="5400" b="1" spc="-100" dirty="0">
                <a:ln w="3175">
                  <a:noFill/>
                </a:ln>
                <a:latin typeface="Segoe UI" panose="020B0502040204020203" pitchFamily="34" charset="0"/>
                <a:cs typeface="Segoe UI" panose="020B0502040204020203" pitchFamily="34" charset="0"/>
              </a:rPr>
              <a:t>ML.NET</a:t>
            </a:r>
            <a:r>
              <a:rPr lang="en-US" sz="5400" spc="-100" dirty="0">
                <a:ln w="3175">
                  <a:noFill/>
                </a:ln>
                <a:latin typeface="Segoe UI Light" panose="020B0502040204020203" pitchFamily="34" charset="0"/>
                <a:cs typeface="Segoe UI Light" panose="020B0502040204020203" pitchFamily="34" charset="0"/>
              </a:rPr>
              <a:t> is a </a:t>
            </a:r>
            <a:r>
              <a:rPr lang="en-US" sz="5400" b="1" spc="-100" dirty="0">
                <a:ln w="3175">
                  <a:noFill/>
                </a:ln>
                <a:latin typeface="Segoe UI" panose="020B0502040204020203" pitchFamily="34" charset="0"/>
                <a:cs typeface="Segoe UI" panose="020B0502040204020203" pitchFamily="34" charset="0"/>
              </a:rPr>
              <a:t>framework</a:t>
            </a:r>
            <a:r>
              <a:rPr lang="en-US" sz="5400" spc="-100" dirty="0">
                <a:ln w="3175">
                  <a:noFill/>
                </a:ln>
                <a:latin typeface="Segoe UI Light" panose="020B0502040204020203" pitchFamily="34" charset="0"/>
                <a:cs typeface="Segoe UI Light" panose="020B0502040204020203" pitchFamily="34" charset="0"/>
              </a:rPr>
              <a:t> for custom ML</a:t>
            </a:r>
          </a:p>
        </p:txBody>
      </p:sp>
      <p:sp>
        <p:nvSpPr>
          <p:cNvPr id="5" name="Rectangle 4">
            <a:extLst>
              <a:ext uri="{FF2B5EF4-FFF2-40B4-BE49-F238E27FC236}">
                <a16:creationId xmlns:a16="http://schemas.microsoft.com/office/drawing/2014/main" id="{6D92A5DD-2C59-495E-AB63-0751D8731397}"/>
              </a:ext>
            </a:extLst>
          </p:cNvPr>
          <p:cNvSpPr/>
          <p:nvPr/>
        </p:nvSpPr>
        <p:spPr>
          <a:xfrm>
            <a:off x="2170438" y="2864481"/>
            <a:ext cx="2024465" cy="63555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ecycle</a:t>
            </a:r>
          </a:p>
        </p:txBody>
      </p:sp>
      <p:grpSp>
        <p:nvGrpSpPr>
          <p:cNvPr id="83" name="Group 82">
            <a:extLst>
              <a:ext uri="{FF2B5EF4-FFF2-40B4-BE49-F238E27FC236}">
                <a16:creationId xmlns:a16="http://schemas.microsoft.com/office/drawing/2014/main" id="{165ABB87-8241-401E-B57E-67845E1E32F7}"/>
              </a:ext>
            </a:extLst>
          </p:cNvPr>
          <p:cNvGrpSpPr/>
          <p:nvPr/>
        </p:nvGrpSpPr>
        <p:grpSpPr>
          <a:xfrm>
            <a:off x="1173972" y="1068991"/>
            <a:ext cx="1759607" cy="1428061"/>
            <a:chOff x="1173972" y="1068991"/>
            <a:chExt cx="1759607" cy="1428061"/>
          </a:xfrm>
        </p:grpSpPr>
        <p:sp>
          <p:nvSpPr>
            <p:cNvPr id="15" name="Rectangle 14">
              <a:extLst>
                <a:ext uri="{FF2B5EF4-FFF2-40B4-BE49-F238E27FC236}">
                  <a16:creationId xmlns:a16="http://schemas.microsoft.com/office/drawing/2014/main" id="{13BE510B-AC25-4D60-A897-7AFF458D40B4}"/>
                </a:ext>
              </a:extLst>
            </p:cNvPr>
            <p:cNvSpPr/>
            <p:nvPr/>
          </p:nvSpPr>
          <p:spPr>
            <a:xfrm>
              <a:off x="1173972" y="1068991"/>
              <a:ext cx="1759607"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03116600-DA79-4A59-8EDF-728D15074E31}"/>
                </a:ext>
              </a:extLst>
            </p:cNvPr>
            <p:cNvSpPr/>
            <p:nvPr/>
          </p:nvSpPr>
          <p:spPr>
            <a:xfrm>
              <a:off x="1536927" y="1228723"/>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A3FDBC49-5971-4FDA-A696-6365D316E3E2}"/>
                </a:ext>
              </a:extLst>
            </p:cNvPr>
            <p:cNvCxnSpPr>
              <a:cxnSpLocks/>
            </p:cNvCxnSpPr>
            <p:nvPr/>
          </p:nvCxnSpPr>
          <p:spPr>
            <a:xfrm flipV="1">
              <a:off x="1489609" y="2403253"/>
              <a:ext cx="32535" cy="93799"/>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0" name="Cylinder 29">
              <a:extLst>
                <a:ext uri="{FF2B5EF4-FFF2-40B4-BE49-F238E27FC236}">
                  <a16:creationId xmlns:a16="http://schemas.microsoft.com/office/drawing/2014/main" id="{30E12E96-5DA4-418C-AE14-7A448604C720}"/>
                </a:ext>
              </a:extLst>
            </p:cNvPr>
            <p:cNvSpPr/>
            <p:nvPr/>
          </p:nvSpPr>
          <p:spPr>
            <a:xfrm>
              <a:off x="1902979" y="1694383"/>
              <a:ext cx="586556" cy="561975"/>
            </a:xfrm>
            <a:prstGeom prst="can">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DE3926EA-0297-4D96-8205-04722D55E479}"/>
                </a:ext>
              </a:extLst>
            </p:cNvPr>
            <p:cNvSpPr/>
            <p:nvPr/>
          </p:nvSpPr>
          <p:spPr>
            <a:xfrm>
              <a:off x="1831838" y="1221916"/>
              <a:ext cx="741229"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istoric</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grpSp>
        <p:nvGrpSpPr>
          <p:cNvPr id="85" name="Group 84">
            <a:extLst>
              <a:ext uri="{FF2B5EF4-FFF2-40B4-BE49-F238E27FC236}">
                <a16:creationId xmlns:a16="http://schemas.microsoft.com/office/drawing/2014/main" id="{594A2D25-9F0A-442F-83E4-19135EC65B80}"/>
              </a:ext>
            </a:extLst>
          </p:cNvPr>
          <p:cNvGrpSpPr/>
          <p:nvPr/>
        </p:nvGrpSpPr>
        <p:grpSpPr>
          <a:xfrm>
            <a:off x="1614918" y="3901312"/>
            <a:ext cx="1567752" cy="1415828"/>
            <a:chOff x="1614918" y="3901312"/>
            <a:chExt cx="1567752" cy="1415828"/>
          </a:xfrm>
        </p:grpSpPr>
        <p:sp>
          <p:nvSpPr>
            <p:cNvPr id="17" name="Rectangle 16">
              <a:extLst>
                <a:ext uri="{FF2B5EF4-FFF2-40B4-BE49-F238E27FC236}">
                  <a16:creationId xmlns:a16="http://schemas.microsoft.com/office/drawing/2014/main" id="{30FA9693-B71F-4204-9756-1B76DA723551}"/>
                </a:ext>
              </a:extLst>
            </p:cNvPr>
            <p:cNvSpPr/>
            <p:nvPr/>
          </p:nvSpPr>
          <p:spPr>
            <a:xfrm>
              <a:off x="1614918" y="3901312"/>
              <a:ext cx="1509638"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02695511-E94B-40C1-BEB3-CC586A60A16A}"/>
                </a:ext>
              </a:extLst>
            </p:cNvPr>
            <p:cNvSpPr/>
            <p:nvPr/>
          </p:nvSpPr>
          <p:spPr>
            <a:xfrm>
              <a:off x="1614918" y="4058984"/>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Arrow Connector 22">
              <a:extLst>
                <a:ext uri="{FF2B5EF4-FFF2-40B4-BE49-F238E27FC236}">
                  <a16:creationId xmlns:a16="http://schemas.microsoft.com/office/drawing/2014/main" id="{6CA67DD2-21CA-4665-997F-D3F7F711AAFA}"/>
                </a:ext>
              </a:extLst>
            </p:cNvPr>
            <p:cNvCxnSpPr>
              <a:cxnSpLocks/>
            </p:cNvCxnSpPr>
            <p:nvPr/>
          </p:nvCxnSpPr>
          <p:spPr>
            <a:xfrm flipH="1" flipV="1">
              <a:off x="3056496" y="4982412"/>
              <a:ext cx="126174" cy="236"/>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pic>
          <p:nvPicPr>
            <p:cNvPr id="34" name="Picture 33">
              <a:extLst>
                <a:ext uri="{FF2B5EF4-FFF2-40B4-BE49-F238E27FC236}">
                  <a16:creationId xmlns:a16="http://schemas.microsoft.com/office/drawing/2014/main" id="{A1EA4EE6-9694-42BF-AEDB-FE010013B424}"/>
                </a:ext>
              </a:extLst>
            </p:cNvPr>
            <p:cNvPicPr>
              <a:picLocks noChangeAspect="1"/>
            </p:cNvPicPr>
            <p:nvPr/>
          </p:nvPicPr>
          <p:blipFill>
            <a:blip r:embed="rId4">
              <a:extLst>
                <a:ext uri="{BEBA8EAE-BF5A-486C-A8C5-ECC9F3942E4B}">
                  <a14:imgProps xmlns:a14="http://schemas.microsoft.com/office/drawing/2010/main">
                    <a14:imgLayer r:embed="rId5">
                      <a14:imgEffect>
                        <a14:saturation sat="300000"/>
                      </a14:imgEffect>
                    </a14:imgLayer>
                  </a14:imgProps>
                </a:ext>
              </a:extLst>
            </a:blip>
            <a:stretch>
              <a:fillRect/>
            </a:stretch>
          </p:blipFill>
          <p:spPr>
            <a:xfrm>
              <a:off x="2053775" y="4445849"/>
              <a:ext cx="473027" cy="404297"/>
            </a:xfrm>
            <a:prstGeom prst="rect">
              <a:avLst/>
            </a:prstGeom>
          </p:spPr>
        </p:pic>
        <p:sp>
          <p:nvSpPr>
            <p:cNvPr id="33" name="Rectangle 32">
              <a:extLst>
                <a:ext uri="{FF2B5EF4-FFF2-40B4-BE49-F238E27FC236}">
                  <a16:creationId xmlns:a16="http://schemas.microsoft.com/office/drawing/2014/main" id="{92185CC4-F5A2-48CA-A1C6-D2A111BF60D1}"/>
                </a:ext>
              </a:extLst>
            </p:cNvPr>
            <p:cNvSpPr/>
            <p:nvPr/>
          </p:nvSpPr>
          <p:spPr>
            <a:xfrm>
              <a:off x="1878755" y="4059141"/>
              <a:ext cx="834430" cy="492443"/>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e</a:t>
              </a:r>
            </a:p>
          </p:txBody>
        </p:sp>
      </p:grpSp>
      <p:grpSp>
        <p:nvGrpSpPr>
          <p:cNvPr id="84" name="Group 83">
            <a:extLst>
              <a:ext uri="{FF2B5EF4-FFF2-40B4-BE49-F238E27FC236}">
                <a16:creationId xmlns:a16="http://schemas.microsoft.com/office/drawing/2014/main" id="{63B78772-AB5B-423E-8D77-7C6EF57E0502}"/>
              </a:ext>
            </a:extLst>
          </p:cNvPr>
          <p:cNvGrpSpPr/>
          <p:nvPr/>
        </p:nvGrpSpPr>
        <p:grpSpPr>
          <a:xfrm>
            <a:off x="4258870" y="2363320"/>
            <a:ext cx="1759607" cy="1648999"/>
            <a:chOff x="4258870" y="2363320"/>
            <a:chExt cx="1759607" cy="1648999"/>
          </a:xfrm>
        </p:grpSpPr>
        <p:sp>
          <p:nvSpPr>
            <p:cNvPr id="16" name="Rectangle 15">
              <a:extLst>
                <a:ext uri="{FF2B5EF4-FFF2-40B4-BE49-F238E27FC236}">
                  <a16:creationId xmlns:a16="http://schemas.microsoft.com/office/drawing/2014/main" id="{2BDD7C52-1F3E-4F5C-AE98-145CD6ECFEEA}"/>
                </a:ext>
              </a:extLst>
            </p:cNvPr>
            <p:cNvSpPr/>
            <p:nvPr/>
          </p:nvSpPr>
          <p:spPr>
            <a:xfrm>
              <a:off x="4258870" y="2389997"/>
              <a:ext cx="1759607" cy="1622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BEBBA8D-2A09-488B-9A99-C6A5EDEA220B}"/>
                </a:ext>
              </a:extLst>
            </p:cNvPr>
            <p:cNvSpPr/>
            <p:nvPr/>
          </p:nvSpPr>
          <p:spPr>
            <a:xfrm>
              <a:off x="4262914" y="2571910"/>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 name="Straight Arrow Connector 20">
              <a:extLst>
                <a:ext uri="{FF2B5EF4-FFF2-40B4-BE49-F238E27FC236}">
                  <a16:creationId xmlns:a16="http://schemas.microsoft.com/office/drawing/2014/main" id="{62250F95-2F5A-416B-91C8-577DFFF495C3}"/>
                </a:ext>
              </a:extLst>
            </p:cNvPr>
            <p:cNvCxnSpPr>
              <a:cxnSpLocks/>
            </p:cNvCxnSpPr>
            <p:nvPr/>
          </p:nvCxnSpPr>
          <p:spPr>
            <a:xfrm>
              <a:off x="4816890" y="2363320"/>
              <a:ext cx="30318" cy="79866"/>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2" name="Rectangle 31">
              <a:extLst>
                <a:ext uri="{FF2B5EF4-FFF2-40B4-BE49-F238E27FC236}">
                  <a16:creationId xmlns:a16="http://schemas.microsoft.com/office/drawing/2014/main" id="{4B81004C-3C69-4A84-90EB-27B407B35355}"/>
                </a:ext>
              </a:extLst>
            </p:cNvPr>
            <p:cNvSpPr/>
            <p:nvPr/>
          </p:nvSpPr>
          <p:spPr>
            <a:xfrm>
              <a:off x="4415102" y="2679522"/>
              <a:ext cx="1080680" cy="292388"/>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mp;Train</a:t>
              </a:r>
            </a:p>
          </p:txBody>
        </p:sp>
        <p:pic>
          <p:nvPicPr>
            <p:cNvPr id="3076" name="Picture 4" descr="Image result for Training process  icon">
              <a:extLst>
                <a:ext uri="{FF2B5EF4-FFF2-40B4-BE49-F238E27FC236}">
                  <a16:creationId xmlns:a16="http://schemas.microsoft.com/office/drawing/2014/main" id="{04252292-5200-4701-9079-454E2AFBDB7D}"/>
                </a:ext>
              </a:extLst>
            </p:cNvPr>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61587" y="2909134"/>
              <a:ext cx="581612" cy="436209"/>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Arrow: Right 34">
            <a:extLst>
              <a:ext uri="{FF2B5EF4-FFF2-40B4-BE49-F238E27FC236}">
                <a16:creationId xmlns:a16="http://schemas.microsoft.com/office/drawing/2014/main" id="{2363C223-92F1-4798-B194-B031A59C8298}"/>
              </a:ext>
            </a:extLst>
          </p:cNvPr>
          <p:cNvSpPr/>
          <p:nvPr/>
        </p:nvSpPr>
        <p:spPr>
          <a:xfrm>
            <a:off x="5736646" y="3015722"/>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8122725-F1C4-49C0-B739-89069B69D8D6}"/>
              </a:ext>
            </a:extLst>
          </p:cNvPr>
          <p:cNvSpPr/>
          <p:nvPr/>
        </p:nvSpPr>
        <p:spPr>
          <a:xfrm>
            <a:off x="5902037" y="2363320"/>
            <a:ext cx="1062086"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ZIP file</a:t>
            </a:r>
          </a:p>
        </p:txBody>
      </p:sp>
      <p:sp>
        <p:nvSpPr>
          <p:cNvPr id="40" name="Rectangle 39">
            <a:extLst>
              <a:ext uri="{FF2B5EF4-FFF2-40B4-BE49-F238E27FC236}">
                <a16:creationId xmlns:a16="http://schemas.microsoft.com/office/drawing/2014/main" id="{879D2CCF-0090-4524-9309-FD9C812EAB16}"/>
              </a:ext>
            </a:extLst>
          </p:cNvPr>
          <p:cNvSpPr/>
          <p:nvPr/>
        </p:nvSpPr>
        <p:spPr>
          <a:xfrm>
            <a:off x="5902037" y="3512265"/>
            <a:ext cx="1062086"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ed)</a:t>
            </a:r>
          </a:p>
        </p:txBody>
      </p:sp>
      <p:pic>
        <p:nvPicPr>
          <p:cNvPr id="38" name="Picture 37">
            <a:extLst>
              <a:ext uri="{FF2B5EF4-FFF2-40B4-BE49-F238E27FC236}">
                <a16:creationId xmlns:a16="http://schemas.microsoft.com/office/drawing/2014/main" id="{29D4C080-646A-4324-A758-AE9EEBDC69CA}"/>
              </a:ext>
            </a:extLst>
          </p:cNvPr>
          <p:cNvPicPr>
            <a:picLocks noChangeAspect="1"/>
          </p:cNvPicPr>
          <p:nvPr/>
        </p:nvPicPr>
        <p:blipFill rotWithShape="1">
          <a:blip r:embed="rId7"/>
          <a:srcRect t="1513" r="2066"/>
          <a:stretch/>
        </p:blipFill>
        <p:spPr>
          <a:xfrm>
            <a:off x="6224168" y="3085258"/>
            <a:ext cx="447614" cy="365502"/>
          </a:xfrm>
          <a:prstGeom prst="rect">
            <a:avLst/>
          </a:prstGeom>
        </p:spPr>
      </p:pic>
      <p:grpSp>
        <p:nvGrpSpPr>
          <p:cNvPr id="80" name="Group 79">
            <a:extLst>
              <a:ext uri="{FF2B5EF4-FFF2-40B4-BE49-F238E27FC236}">
                <a16:creationId xmlns:a16="http://schemas.microsoft.com/office/drawing/2014/main" id="{FD204A43-7084-45EE-9F8C-24F7AB3D7F7E}"/>
              </a:ext>
            </a:extLst>
          </p:cNvPr>
          <p:cNvGrpSpPr/>
          <p:nvPr/>
        </p:nvGrpSpPr>
        <p:grpSpPr>
          <a:xfrm>
            <a:off x="1010093" y="5448596"/>
            <a:ext cx="5156686" cy="283672"/>
            <a:chOff x="1010093" y="5448596"/>
            <a:chExt cx="5156686" cy="283672"/>
          </a:xfrm>
        </p:grpSpPr>
        <p:sp>
          <p:nvSpPr>
            <p:cNvPr id="61" name="Arrow: Chevron 60">
              <a:extLst>
                <a:ext uri="{FF2B5EF4-FFF2-40B4-BE49-F238E27FC236}">
                  <a16:creationId xmlns:a16="http://schemas.microsoft.com/office/drawing/2014/main" id="{C36058E8-1DB4-45A0-A8D1-E32EA0FBD0B2}"/>
                </a:ext>
              </a:extLst>
            </p:cNvPr>
            <p:cNvSpPr/>
            <p:nvPr/>
          </p:nvSpPr>
          <p:spPr bwMode="auto">
            <a:xfrm>
              <a:off x="1010093" y="5456275"/>
              <a:ext cx="5156686"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5D676F25-CD90-4EBB-A69C-AAD73F91582D}"/>
                </a:ext>
              </a:extLst>
            </p:cNvPr>
            <p:cNvSpPr/>
            <p:nvPr/>
          </p:nvSpPr>
          <p:spPr>
            <a:xfrm>
              <a:off x="1848346"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pare Data, Build and Train an ML model</a:t>
              </a:r>
            </a:p>
          </p:txBody>
        </p:sp>
      </p:grpSp>
      <p:grpSp>
        <p:nvGrpSpPr>
          <p:cNvPr id="2" name="Group 1">
            <a:extLst>
              <a:ext uri="{FF2B5EF4-FFF2-40B4-BE49-F238E27FC236}">
                <a16:creationId xmlns:a16="http://schemas.microsoft.com/office/drawing/2014/main" id="{BE9906EF-E004-4EB9-A23D-558A698B813F}"/>
              </a:ext>
            </a:extLst>
          </p:cNvPr>
          <p:cNvGrpSpPr/>
          <p:nvPr/>
        </p:nvGrpSpPr>
        <p:grpSpPr>
          <a:xfrm>
            <a:off x="1267535" y="5782537"/>
            <a:ext cx="4709342" cy="901983"/>
            <a:chOff x="1267535" y="5782537"/>
            <a:chExt cx="4709342" cy="901983"/>
          </a:xfrm>
        </p:grpSpPr>
        <p:sp>
          <p:nvSpPr>
            <p:cNvPr id="66" name="Rectangle 65">
              <a:extLst>
                <a:ext uri="{FF2B5EF4-FFF2-40B4-BE49-F238E27FC236}">
                  <a16:creationId xmlns:a16="http://schemas.microsoft.com/office/drawing/2014/main" id="{D853E20A-EC3D-4488-8EAC-7CB2E4DD20EA}"/>
                </a:ext>
              </a:extLst>
            </p:cNvPr>
            <p:cNvSpPr/>
            <p:nvPr/>
          </p:nvSpPr>
          <p:spPr>
            <a:xfrm>
              <a:off x="3656903" y="6172738"/>
              <a:ext cx="2319974" cy="511782"/>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Console app, etc.)</a:t>
              </a:r>
            </a:p>
          </p:txBody>
        </p:sp>
        <p:sp>
          <p:nvSpPr>
            <p:cNvPr id="68" name="Rectangle 67">
              <a:extLst>
                <a:ext uri="{FF2B5EF4-FFF2-40B4-BE49-F238E27FC236}">
                  <a16:creationId xmlns:a16="http://schemas.microsoft.com/office/drawing/2014/main" id="{99A0FFC1-9FBD-418A-BE66-02A550B275DD}"/>
                </a:ext>
              </a:extLst>
            </p:cNvPr>
            <p:cNvSpPr/>
            <p:nvPr/>
          </p:nvSpPr>
          <p:spPr>
            <a:xfrm>
              <a:off x="1268462" y="6167837"/>
              <a:ext cx="2319974" cy="51178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Model Build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I Desktop Tool)</a:t>
              </a:r>
            </a:p>
          </p:txBody>
        </p:sp>
        <p:sp>
          <p:nvSpPr>
            <p:cNvPr id="90" name="Rectangle 89">
              <a:extLst>
                <a:ext uri="{FF2B5EF4-FFF2-40B4-BE49-F238E27FC236}">
                  <a16:creationId xmlns:a16="http://schemas.microsoft.com/office/drawing/2014/main" id="{D52E0A59-5482-455D-AED6-A5169B6662BD}"/>
                </a:ext>
              </a:extLst>
            </p:cNvPr>
            <p:cNvSpPr/>
            <p:nvPr/>
          </p:nvSpPr>
          <p:spPr>
            <a:xfrm>
              <a:off x="1267535" y="5782537"/>
              <a:ext cx="4709341" cy="33026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 Tasks, Data Transforms, Learners/Algorithms</a:t>
              </a:r>
            </a:p>
          </p:txBody>
        </p:sp>
        <p:grpSp>
          <p:nvGrpSpPr>
            <p:cNvPr id="78" name="Group 77">
              <a:extLst>
                <a:ext uri="{FF2B5EF4-FFF2-40B4-BE49-F238E27FC236}">
                  <a16:creationId xmlns:a16="http://schemas.microsoft.com/office/drawing/2014/main" id="{D93DCFC9-F428-4693-91CD-63D66E338624}"/>
                </a:ext>
              </a:extLst>
            </p:cNvPr>
            <p:cNvGrpSpPr/>
            <p:nvPr/>
          </p:nvGrpSpPr>
          <p:grpSpPr>
            <a:xfrm>
              <a:off x="3328351" y="6027779"/>
              <a:ext cx="582614" cy="550777"/>
              <a:chOff x="6281599" y="6000989"/>
              <a:chExt cx="582614" cy="550777"/>
            </a:xfrm>
          </p:grpSpPr>
          <p:sp>
            <p:nvSpPr>
              <p:cNvPr id="93" name="Rectangle 92">
                <a:extLst>
                  <a:ext uri="{FF2B5EF4-FFF2-40B4-BE49-F238E27FC236}">
                    <a16:creationId xmlns:a16="http://schemas.microsoft.com/office/drawing/2014/main" id="{0AECCDE3-53CE-4D33-87B7-E4FDFCA271F3}"/>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 name="Picture 91">
                <a:extLst>
                  <a:ext uri="{FF2B5EF4-FFF2-40B4-BE49-F238E27FC236}">
                    <a16:creationId xmlns:a16="http://schemas.microsoft.com/office/drawing/2014/main" id="{EF87F824-FE9B-4690-9FBE-52A28087AABA}"/>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nvGrpSpPr>
          <p:cNvPr id="3" name="Group 2">
            <a:extLst>
              <a:ext uri="{FF2B5EF4-FFF2-40B4-BE49-F238E27FC236}">
                <a16:creationId xmlns:a16="http://schemas.microsoft.com/office/drawing/2014/main" id="{0055D152-D8AF-49CC-ACE8-F8E93954FBCF}"/>
              </a:ext>
            </a:extLst>
          </p:cNvPr>
          <p:cNvGrpSpPr/>
          <p:nvPr/>
        </p:nvGrpSpPr>
        <p:grpSpPr>
          <a:xfrm>
            <a:off x="7671644" y="5805043"/>
            <a:ext cx="2611282" cy="898112"/>
            <a:chOff x="7671644" y="5805043"/>
            <a:chExt cx="2611282" cy="898112"/>
          </a:xfrm>
        </p:grpSpPr>
        <p:sp>
          <p:nvSpPr>
            <p:cNvPr id="67" name="Rectangle 66">
              <a:extLst>
                <a:ext uri="{FF2B5EF4-FFF2-40B4-BE49-F238E27FC236}">
                  <a16:creationId xmlns:a16="http://schemas.microsoft.com/office/drawing/2014/main" id="{8687FE9C-8AAF-4DC7-BBF3-D5D908B205D9}"/>
                </a:ext>
              </a:extLst>
            </p:cNvPr>
            <p:cNvSpPr/>
            <p:nvPr/>
          </p:nvSpPr>
          <p:spPr>
            <a:xfrm>
              <a:off x="7962952" y="6191373"/>
              <a:ext cx="2319974" cy="511782"/>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app)</a:t>
              </a:r>
            </a:p>
          </p:txBody>
        </p:sp>
        <p:sp>
          <p:nvSpPr>
            <p:cNvPr id="91" name="Rectangle 90">
              <a:extLst>
                <a:ext uri="{FF2B5EF4-FFF2-40B4-BE49-F238E27FC236}">
                  <a16:creationId xmlns:a16="http://schemas.microsoft.com/office/drawing/2014/main" id="{E5726836-F897-4A7C-9218-00F93CB728B6}"/>
                </a:ext>
              </a:extLst>
            </p:cNvPr>
            <p:cNvSpPr/>
            <p:nvPr/>
          </p:nvSpPr>
          <p:spPr>
            <a:xfrm>
              <a:off x="7962952" y="5805043"/>
              <a:ext cx="2319974" cy="33026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API to run the model</a:t>
              </a:r>
            </a:p>
          </p:txBody>
        </p:sp>
        <p:grpSp>
          <p:nvGrpSpPr>
            <p:cNvPr id="95" name="Group 94">
              <a:extLst>
                <a:ext uri="{FF2B5EF4-FFF2-40B4-BE49-F238E27FC236}">
                  <a16:creationId xmlns:a16="http://schemas.microsoft.com/office/drawing/2014/main" id="{040B81AD-3D4D-4A90-9100-90AF9272F3E5}"/>
                </a:ext>
              </a:extLst>
            </p:cNvPr>
            <p:cNvGrpSpPr/>
            <p:nvPr/>
          </p:nvGrpSpPr>
          <p:grpSpPr>
            <a:xfrm>
              <a:off x="7671644" y="6024663"/>
              <a:ext cx="582614" cy="550777"/>
              <a:chOff x="6281599" y="6000989"/>
              <a:chExt cx="582614" cy="550777"/>
            </a:xfrm>
          </p:grpSpPr>
          <p:sp>
            <p:nvSpPr>
              <p:cNvPr id="96" name="Rectangle 95">
                <a:extLst>
                  <a:ext uri="{FF2B5EF4-FFF2-40B4-BE49-F238E27FC236}">
                    <a16:creationId xmlns:a16="http://schemas.microsoft.com/office/drawing/2014/main" id="{9E51BAF8-2258-44C1-8E8A-0D53AD6146DA}"/>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7" name="Picture 96">
                <a:extLst>
                  <a:ext uri="{FF2B5EF4-FFF2-40B4-BE49-F238E27FC236}">
                    <a16:creationId xmlns:a16="http://schemas.microsoft.com/office/drawing/2014/main" id="{646D97A4-F41B-496C-96B6-750B7B8A5A9A}"/>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nvGrpSpPr>
          <p:cNvPr id="12" name="Group 11">
            <a:extLst>
              <a:ext uri="{FF2B5EF4-FFF2-40B4-BE49-F238E27FC236}">
                <a16:creationId xmlns:a16="http://schemas.microsoft.com/office/drawing/2014/main" id="{E7FBE949-1A2C-4E14-9BC8-B227DD07F7AB}"/>
              </a:ext>
            </a:extLst>
          </p:cNvPr>
          <p:cNvGrpSpPr/>
          <p:nvPr/>
        </p:nvGrpSpPr>
        <p:grpSpPr>
          <a:xfrm>
            <a:off x="5645444" y="5800539"/>
            <a:ext cx="1591907" cy="914509"/>
            <a:chOff x="5645444" y="5800539"/>
            <a:chExt cx="1591907" cy="914509"/>
          </a:xfrm>
        </p:grpSpPr>
        <p:pic>
          <p:nvPicPr>
            <p:cNvPr id="2050" name="Picture 2" descr="Image result for nuget logo">
              <a:extLst>
                <a:ext uri="{FF2B5EF4-FFF2-40B4-BE49-F238E27FC236}">
                  <a16:creationId xmlns:a16="http://schemas.microsoft.com/office/drawing/2014/main" id="{8E9CF952-8A8B-4160-993E-161871E483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45444" y="5800539"/>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5865CC7-BEF7-4ABF-A97D-79314FDE6F3E}"/>
                </a:ext>
              </a:extLst>
            </p:cNvPr>
            <p:cNvSpPr/>
            <p:nvPr/>
          </p:nvSpPr>
          <p:spPr>
            <a:xfrm>
              <a:off x="6425910" y="6070376"/>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888CB"/>
                  </a:solidFill>
                  <a:effectLst/>
                  <a:uLnTx/>
                  <a:uFillTx/>
                  <a:latin typeface="Segoe UI Light" panose="020B0502040204020203" pitchFamily="34" charset="0"/>
                  <a:ea typeface="+mn-ea"/>
                  <a:cs typeface="Segoe UI Light" panose="020B0502040204020203" pitchFamily="34" charset="0"/>
                </a:rPr>
                <a:t>nuget</a:t>
              </a:r>
            </a:p>
          </p:txBody>
        </p:sp>
      </p:grpSp>
      <p:grpSp>
        <p:nvGrpSpPr>
          <p:cNvPr id="13" name="Group 12">
            <a:extLst>
              <a:ext uri="{FF2B5EF4-FFF2-40B4-BE49-F238E27FC236}">
                <a16:creationId xmlns:a16="http://schemas.microsoft.com/office/drawing/2014/main" id="{85BC2CB8-666D-41D3-8478-C97B5F22219C}"/>
              </a:ext>
            </a:extLst>
          </p:cNvPr>
          <p:cNvGrpSpPr/>
          <p:nvPr/>
        </p:nvGrpSpPr>
        <p:grpSpPr>
          <a:xfrm>
            <a:off x="10021773" y="5829186"/>
            <a:ext cx="1596246" cy="914509"/>
            <a:chOff x="10021773" y="5829186"/>
            <a:chExt cx="1596246" cy="914509"/>
          </a:xfrm>
        </p:grpSpPr>
        <p:pic>
          <p:nvPicPr>
            <p:cNvPr id="72" name="Picture 2" descr="Image result for nuget logo">
              <a:extLst>
                <a:ext uri="{FF2B5EF4-FFF2-40B4-BE49-F238E27FC236}">
                  <a16:creationId xmlns:a16="http://schemas.microsoft.com/office/drawing/2014/main" id="{AF67E373-A260-4432-A0E3-9E309DF9FA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21773" y="5829186"/>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5025E013-B223-48FE-BE17-A1315A64A74E}"/>
                </a:ext>
              </a:extLst>
            </p:cNvPr>
            <p:cNvSpPr/>
            <p:nvPr/>
          </p:nvSpPr>
          <p:spPr>
            <a:xfrm>
              <a:off x="10806578" y="6112798"/>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888CB"/>
                  </a:solidFill>
                  <a:effectLst/>
                  <a:uLnTx/>
                  <a:uFillTx/>
                  <a:latin typeface="Segoe UI Light" panose="020B0502040204020203" pitchFamily="34" charset="0"/>
                  <a:ea typeface="+mn-ea"/>
                  <a:cs typeface="Segoe UI Light" panose="020B0502040204020203" pitchFamily="34" charset="0"/>
                </a:rPr>
                <a:t>nuget</a:t>
              </a:r>
            </a:p>
          </p:txBody>
        </p:sp>
      </p:grpSp>
      <p:grpSp>
        <p:nvGrpSpPr>
          <p:cNvPr id="18" name="Group 17">
            <a:extLst>
              <a:ext uri="{FF2B5EF4-FFF2-40B4-BE49-F238E27FC236}">
                <a16:creationId xmlns:a16="http://schemas.microsoft.com/office/drawing/2014/main" id="{B979A4AC-D2E7-4F29-97F8-3D870798F15E}"/>
              </a:ext>
            </a:extLst>
          </p:cNvPr>
          <p:cNvGrpSpPr/>
          <p:nvPr/>
        </p:nvGrpSpPr>
        <p:grpSpPr>
          <a:xfrm>
            <a:off x="6820786" y="1154250"/>
            <a:ext cx="4977416" cy="4578018"/>
            <a:chOff x="6820786" y="1154250"/>
            <a:chExt cx="4977416" cy="4578018"/>
          </a:xfrm>
        </p:grpSpPr>
        <p:sp>
          <p:nvSpPr>
            <p:cNvPr id="37" name="Rectangle 36">
              <a:extLst>
                <a:ext uri="{FF2B5EF4-FFF2-40B4-BE49-F238E27FC236}">
                  <a16:creationId xmlns:a16="http://schemas.microsoft.com/office/drawing/2014/main" id="{5DB2C317-2B1C-4A53-BAF0-0699E1DC372C}"/>
                </a:ext>
              </a:extLst>
            </p:cNvPr>
            <p:cNvSpPr/>
            <p:nvPr/>
          </p:nvSpPr>
          <p:spPr>
            <a:xfrm>
              <a:off x="7724662" y="1775742"/>
              <a:ext cx="2799919" cy="2227823"/>
            </a:xfrm>
            <a:prstGeom prst="rect">
              <a:avLst/>
            </a:prstGeom>
            <a:noFill/>
            <a:ln w="38100">
              <a:solidFill>
                <a:srgbClr val="51B1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Arrow: Right 41">
              <a:extLst>
                <a:ext uri="{FF2B5EF4-FFF2-40B4-BE49-F238E27FC236}">
                  <a16:creationId xmlns:a16="http://schemas.microsoft.com/office/drawing/2014/main" id="{CA941309-9BFA-4D23-BEF1-3F0B9367AD3B}"/>
                </a:ext>
              </a:extLst>
            </p:cNvPr>
            <p:cNvSpPr/>
            <p:nvPr/>
          </p:nvSpPr>
          <p:spPr>
            <a:xfrm>
              <a:off x="6966385" y="3036466"/>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87F7A9A1-A09C-4F74-8570-1F9460815D83}"/>
                </a:ext>
              </a:extLst>
            </p:cNvPr>
            <p:cNvSpPr/>
            <p:nvPr/>
          </p:nvSpPr>
          <p:spPr>
            <a:xfrm>
              <a:off x="7996103" y="1154250"/>
              <a:ext cx="2228494" cy="548612"/>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siness Applicat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eb/Service/Desktop/Mobile)</a:t>
              </a:r>
            </a:p>
          </p:txBody>
        </p:sp>
        <p:sp>
          <p:nvSpPr>
            <p:cNvPr id="48" name="Rectangle 47">
              <a:extLst>
                <a:ext uri="{FF2B5EF4-FFF2-40B4-BE49-F238E27FC236}">
                  <a16:creationId xmlns:a16="http://schemas.microsoft.com/office/drawing/2014/main" id="{D5BE1EE7-2392-4DD6-A75A-C1D25BB0D859}"/>
                </a:ext>
              </a:extLst>
            </p:cNvPr>
            <p:cNvSpPr/>
            <p:nvPr/>
          </p:nvSpPr>
          <p:spPr>
            <a:xfrm>
              <a:off x="7863539" y="3520423"/>
              <a:ext cx="830891" cy="43088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e</a:t>
              </a:r>
            </a:p>
          </p:txBody>
        </p:sp>
        <p:pic>
          <p:nvPicPr>
            <p:cNvPr id="41" name="Picture 40">
              <a:extLst>
                <a:ext uri="{FF2B5EF4-FFF2-40B4-BE49-F238E27FC236}">
                  <a16:creationId xmlns:a16="http://schemas.microsoft.com/office/drawing/2014/main" id="{25CE06A3-1D09-409B-A7AA-C938640FD758}"/>
                </a:ext>
              </a:extLst>
            </p:cNvPr>
            <p:cNvPicPr>
              <a:picLocks noChangeAspect="1"/>
            </p:cNvPicPr>
            <p:nvPr/>
          </p:nvPicPr>
          <p:blipFill>
            <a:blip r:embed="rId10"/>
            <a:stretch>
              <a:fillRect/>
            </a:stretch>
          </p:blipFill>
          <p:spPr>
            <a:xfrm>
              <a:off x="8060388" y="3034118"/>
              <a:ext cx="437195" cy="519776"/>
            </a:xfrm>
            <a:prstGeom prst="rect">
              <a:avLst/>
            </a:prstGeom>
          </p:spPr>
        </p:pic>
        <p:sp>
          <p:nvSpPr>
            <p:cNvPr id="53" name="Rectangle 52">
              <a:extLst>
                <a:ext uri="{FF2B5EF4-FFF2-40B4-BE49-F238E27FC236}">
                  <a16:creationId xmlns:a16="http://schemas.microsoft.com/office/drawing/2014/main" id="{969E4B8E-6C16-42D4-B629-678C2EB7285F}"/>
                </a:ext>
              </a:extLst>
            </p:cNvPr>
            <p:cNvSpPr/>
            <p:nvPr/>
          </p:nvSpPr>
          <p:spPr>
            <a:xfrm>
              <a:off x="7863539" y="1921503"/>
              <a:ext cx="2534070" cy="102375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grpSp>
          <p:nvGrpSpPr>
            <p:cNvPr id="81" name="Group 80">
              <a:extLst>
                <a:ext uri="{FF2B5EF4-FFF2-40B4-BE49-F238E27FC236}">
                  <a16:creationId xmlns:a16="http://schemas.microsoft.com/office/drawing/2014/main" id="{AEE0B393-DC89-4003-BD8C-58762ACE3E55}"/>
                </a:ext>
              </a:extLst>
            </p:cNvPr>
            <p:cNvGrpSpPr/>
            <p:nvPr/>
          </p:nvGrpSpPr>
          <p:grpSpPr>
            <a:xfrm>
              <a:off x="6820786" y="5448596"/>
              <a:ext cx="4458586" cy="283672"/>
              <a:chOff x="6820786" y="5448596"/>
              <a:chExt cx="4458586" cy="283672"/>
            </a:xfrm>
          </p:grpSpPr>
          <p:sp>
            <p:nvSpPr>
              <p:cNvPr id="64" name="Arrow: Chevron 63">
                <a:extLst>
                  <a:ext uri="{FF2B5EF4-FFF2-40B4-BE49-F238E27FC236}">
                    <a16:creationId xmlns:a16="http://schemas.microsoft.com/office/drawing/2014/main" id="{73CECA76-7FBD-471E-90B8-38342BCE6B42}"/>
                  </a:ext>
                </a:extLst>
              </p:cNvPr>
              <p:cNvSpPr/>
              <p:nvPr/>
            </p:nvSpPr>
            <p:spPr bwMode="auto">
              <a:xfrm>
                <a:off x="6820786" y="5456275"/>
                <a:ext cx="4458586"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05C40642-D35D-4EE3-9CC0-3ACEB05AE7D8}"/>
                  </a:ext>
                </a:extLst>
              </p:cNvPr>
              <p:cNvSpPr/>
              <p:nvPr/>
            </p:nvSpPr>
            <p:spPr>
              <a:xfrm>
                <a:off x="7439301"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dict: Run/consume the ML model</a:t>
                </a:r>
              </a:p>
            </p:txBody>
          </p:sp>
        </p:grpSp>
        <p:sp>
          <p:nvSpPr>
            <p:cNvPr id="69" name="Oval 68">
              <a:extLst>
                <a:ext uri="{FF2B5EF4-FFF2-40B4-BE49-F238E27FC236}">
                  <a16:creationId xmlns:a16="http://schemas.microsoft.com/office/drawing/2014/main" id="{4F9B1B2B-B64C-46FA-A9D1-A9627D9CFD30}"/>
                </a:ext>
              </a:extLst>
            </p:cNvPr>
            <p:cNvSpPr/>
            <p:nvPr/>
          </p:nvSpPr>
          <p:spPr>
            <a:xfrm>
              <a:off x="8433652" y="4076445"/>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A2D79633-040F-4F40-90D8-1CF3242B8E22}"/>
                </a:ext>
              </a:extLst>
            </p:cNvPr>
            <p:cNvGrpSpPr/>
            <p:nvPr/>
          </p:nvGrpSpPr>
          <p:grpSpPr>
            <a:xfrm>
              <a:off x="8600753" y="4492843"/>
              <a:ext cx="984457" cy="621522"/>
              <a:chOff x="8581701" y="4926038"/>
              <a:chExt cx="984457" cy="621522"/>
            </a:xfrm>
          </p:grpSpPr>
          <p:pic>
            <p:nvPicPr>
              <p:cNvPr id="3082" name="Picture 10" descr="Image result for Predict crystal ball question mark icon">
                <a:extLst>
                  <a:ext uri="{FF2B5EF4-FFF2-40B4-BE49-F238E27FC236}">
                    <a16:creationId xmlns:a16="http://schemas.microsoft.com/office/drawing/2014/main" id="{3FC7EA9F-6E85-4264-B1A5-565FBFBD697E}"/>
                  </a:ext>
                </a:extLst>
              </p:cNvPr>
              <p:cNvPicPr>
                <a:picLocks noChangeAspect="1" noChangeArrowheads="1"/>
              </p:cNvPicPr>
              <p:nvPr/>
            </p:nvPicPr>
            <p:blipFill rotWithShape="1">
              <a:blip r:embed="rId11">
                <a:duotone>
                  <a:schemeClr val="bg2">
                    <a:shade val="45000"/>
                    <a:satMod val="135000"/>
                  </a:schemeClr>
                  <a:prstClr val="white"/>
                </a:duotone>
                <a:extLst>
                  <a:ext uri="{28A0092B-C50C-407E-A947-70E740481C1C}">
                    <a14:useLocalDpi xmlns:a14="http://schemas.microsoft.com/office/drawing/2010/main" val="0"/>
                  </a:ext>
                </a:extLst>
              </a:blip>
              <a:srcRect l="8990" t="10332" r="9575" b="18057"/>
              <a:stretch/>
            </p:blipFill>
            <p:spPr bwMode="auto">
              <a:xfrm>
                <a:off x="8581701" y="4926038"/>
                <a:ext cx="984457" cy="621522"/>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85C278FA-1C5C-4FB7-A0C5-8FCBD9599E21}"/>
                  </a:ext>
                </a:extLst>
              </p:cNvPr>
              <p:cNvSpPr/>
              <p:nvPr/>
            </p:nvSpPr>
            <p:spPr>
              <a:xfrm>
                <a:off x="8929498" y="5061289"/>
                <a:ext cx="28886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a:t>
                </a:r>
              </a:p>
            </p:txBody>
          </p:sp>
        </p:grpSp>
        <p:grpSp>
          <p:nvGrpSpPr>
            <p:cNvPr id="10" name="Group 9">
              <a:extLst>
                <a:ext uri="{FF2B5EF4-FFF2-40B4-BE49-F238E27FC236}">
                  <a16:creationId xmlns:a16="http://schemas.microsoft.com/office/drawing/2014/main" id="{9F477CA8-03AC-411A-A7DF-554D368B8929}"/>
                </a:ext>
              </a:extLst>
            </p:cNvPr>
            <p:cNvGrpSpPr/>
            <p:nvPr/>
          </p:nvGrpSpPr>
          <p:grpSpPr>
            <a:xfrm>
              <a:off x="8545601" y="2383413"/>
              <a:ext cx="3252601" cy="1624794"/>
              <a:chOff x="8545601" y="2383413"/>
              <a:chExt cx="3252601" cy="1624794"/>
            </a:xfrm>
          </p:grpSpPr>
          <p:sp>
            <p:nvSpPr>
              <p:cNvPr id="82" name="Rectangle 81">
                <a:extLst>
                  <a:ext uri="{FF2B5EF4-FFF2-40B4-BE49-F238E27FC236}">
                    <a16:creationId xmlns:a16="http://schemas.microsoft.com/office/drawing/2014/main" id="{D4836460-E4C1-44DA-BFA5-9DA6B9CC1385}"/>
                  </a:ext>
                </a:extLst>
              </p:cNvPr>
              <p:cNvSpPr/>
              <p:nvPr/>
            </p:nvSpPr>
            <p:spPr>
              <a:xfrm>
                <a:off x="11018028" y="2383413"/>
                <a:ext cx="661078" cy="73866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v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r’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nvGrpSpPr>
              <p:cNvPr id="9" name="Group 8">
                <a:extLst>
                  <a:ext uri="{FF2B5EF4-FFF2-40B4-BE49-F238E27FC236}">
                    <a16:creationId xmlns:a16="http://schemas.microsoft.com/office/drawing/2014/main" id="{25D25584-0CD1-4931-8BCE-3D68C827ED05}"/>
                  </a:ext>
                </a:extLst>
              </p:cNvPr>
              <p:cNvGrpSpPr/>
              <p:nvPr/>
            </p:nvGrpSpPr>
            <p:grpSpPr>
              <a:xfrm>
                <a:off x="8545601" y="3000865"/>
                <a:ext cx="3252601" cy="1007342"/>
                <a:chOff x="8545601" y="3000865"/>
                <a:chExt cx="3252601" cy="1007342"/>
              </a:xfrm>
            </p:grpSpPr>
            <p:sp>
              <p:nvSpPr>
                <p:cNvPr id="52" name="Rectangle 51">
                  <a:extLst>
                    <a:ext uri="{FF2B5EF4-FFF2-40B4-BE49-F238E27FC236}">
                      <a16:creationId xmlns:a16="http://schemas.microsoft.com/office/drawing/2014/main" id="{63D72249-FF60-40E3-A28C-B27046795BA5}"/>
                    </a:ext>
                  </a:extLst>
                </p:cNvPr>
                <p:cNvSpPr/>
                <p:nvPr/>
              </p:nvSpPr>
              <p:spPr>
                <a:xfrm>
                  <a:off x="8875260" y="3034118"/>
                  <a:ext cx="1506418" cy="79489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0" name="Straight Arrow Connector 49">
                  <a:extLst>
                    <a:ext uri="{FF2B5EF4-FFF2-40B4-BE49-F238E27FC236}">
                      <a16:creationId xmlns:a16="http://schemas.microsoft.com/office/drawing/2014/main" id="{1C6D008C-3964-4C1A-823A-7459D7331A4E}"/>
                    </a:ext>
                  </a:extLst>
                </p:cNvPr>
                <p:cNvCxnSpPr>
                  <a:cxnSpLocks/>
                  <a:stCxn id="52" idx="1"/>
                </p:cNvCxnSpPr>
                <p:nvPr/>
              </p:nvCxnSpPr>
              <p:spPr>
                <a:xfrm flipH="1">
                  <a:off x="8545601" y="3431564"/>
                  <a:ext cx="329659" cy="0"/>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pic>
              <p:nvPicPr>
                <p:cNvPr id="3086" name="Picture 14" descr="Image result for Application icon">
                  <a:extLst>
                    <a:ext uri="{FF2B5EF4-FFF2-40B4-BE49-F238E27FC236}">
                      <a16:creationId xmlns:a16="http://schemas.microsoft.com/office/drawing/2014/main" id="{ED11A249-8B03-4284-97EB-C1BDFCCCCF84}"/>
                    </a:ext>
                  </a:extLst>
                </p:cNvPr>
                <p:cNvPicPr>
                  <a:picLocks noChangeAspect="1" noChangeArrowheads="1"/>
                </p:cNvPicPr>
                <p:nvPr/>
              </p:nvPicPr>
              <p:blipFill rotWithShape="1">
                <a:blip r:embed="rId12">
                  <a:duotone>
                    <a:schemeClr val="accent6">
                      <a:shade val="45000"/>
                      <a:satMod val="135000"/>
                    </a:schemeClr>
                    <a:prstClr val="white"/>
                  </a:duotone>
                  <a:extLst>
                    <a:ext uri="{28A0092B-C50C-407E-A947-70E740481C1C}">
                      <a14:useLocalDpi xmlns:a14="http://schemas.microsoft.com/office/drawing/2010/main" val="0"/>
                    </a:ext>
                  </a:extLst>
                </a:blip>
                <a:srcRect l="71478" t="4896" r="3870" b="72050"/>
                <a:stretch/>
              </p:blipFill>
              <p:spPr bwMode="auto">
                <a:xfrm>
                  <a:off x="10929748" y="3045785"/>
                  <a:ext cx="868454" cy="763425"/>
                </a:xfrm>
                <a:prstGeom prst="rect">
                  <a:avLst/>
                </a:prstGeom>
                <a:noFill/>
                <a:extLst>
                  <a:ext uri="{909E8E84-426E-40DD-AFC4-6F175D3DCCD1}">
                    <a14:hiddenFill xmlns:a14="http://schemas.microsoft.com/office/drawing/2010/main">
                      <a:solidFill>
                        <a:srgbClr val="FFFFFF"/>
                      </a:solidFill>
                    </a14:hiddenFill>
                  </a:ext>
                </a:extLst>
              </p:spPr>
            </p:pic>
            <p:cxnSp>
              <p:nvCxnSpPr>
                <p:cNvPr id="79" name="Straight Arrow Connector 78">
                  <a:extLst>
                    <a:ext uri="{FF2B5EF4-FFF2-40B4-BE49-F238E27FC236}">
                      <a16:creationId xmlns:a16="http://schemas.microsoft.com/office/drawing/2014/main" id="{01A789D0-8222-45FA-BF57-9A7118B38EE6}"/>
                    </a:ext>
                  </a:extLst>
                </p:cNvPr>
                <p:cNvCxnSpPr>
                  <a:cxnSpLocks/>
                </p:cNvCxnSpPr>
                <p:nvPr/>
              </p:nvCxnSpPr>
              <p:spPr>
                <a:xfrm flipH="1" flipV="1">
                  <a:off x="10535213" y="3427497"/>
                  <a:ext cx="405167" cy="1"/>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88" name="Rectangle 87">
                  <a:extLst>
                    <a:ext uri="{FF2B5EF4-FFF2-40B4-BE49-F238E27FC236}">
                      <a16:creationId xmlns:a16="http://schemas.microsoft.com/office/drawing/2014/main" id="{2049DB95-B508-4BA7-B6DF-7462D03EBD0E}"/>
                    </a:ext>
                  </a:extLst>
                </p:cNvPr>
                <p:cNvSpPr/>
                <p:nvPr/>
              </p:nvSpPr>
              <p:spPr>
                <a:xfrm>
                  <a:off x="8806046" y="3000865"/>
                  <a:ext cx="1606919" cy="36394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ML.NET</a:t>
                  </a:r>
                </a:p>
              </p:txBody>
            </p:sp>
            <p:sp>
              <p:nvSpPr>
                <p:cNvPr id="89" name="Rectangle 88">
                  <a:extLst>
                    <a:ext uri="{FF2B5EF4-FFF2-40B4-BE49-F238E27FC236}">
                      <a16:creationId xmlns:a16="http://schemas.microsoft.com/office/drawing/2014/main" id="{255A072A-EE7B-4FBE-8B68-66185DF6FF3D}"/>
                    </a:ext>
                  </a:extLst>
                </p:cNvPr>
                <p:cNvSpPr/>
                <p:nvPr/>
              </p:nvSpPr>
              <p:spPr>
                <a:xfrm>
                  <a:off x="8913081" y="3246421"/>
                  <a:ext cx="1429027" cy="52321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PI to consum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he model</a:t>
                  </a:r>
                </a:p>
              </p:txBody>
            </p:sp>
            <p:grpSp>
              <p:nvGrpSpPr>
                <p:cNvPr id="98" name="Group 97">
                  <a:extLst>
                    <a:ext uri="{FF2B5EF4-FFF2-40B4-BE49-F238E27FC236}">
                      <a16:creationId xmlns:a16="http://schemas.microsoft.com/office/drawing/2014/main" id="{8F980B8E-3CFE-4FB1-808F-185E1369ACB0}"/>
                    </a:ext>
                  </a:extLst>
                </p:cNvPr>
                <p:cNvGrpSpPr/>
                <p:nvPr/>
              </p:nvGrpSpPr>
              <p:grpSpPr>
                <a:xfrm>
                  <a:off x="9947283" y="3457430"/>
                  <a:ext cx="582614" cy="550777"/>
                  <a:chOff x="6281599" y="6000989"/>
                  <a:chExt cx="582614" cy="550777"/>
                </a:xfrm>
              </p:grpSpPr>
              <p:sp>
                <p:nvSpPr>
                  <p:cNvPr id="99" name="Rectangle 98">
                    <a:extLst>
                      <a:ext uri="{FF2B5EF4-FFF2-40B4-BE49-F238E27FC236}">
                        <a16:creationId xmlns:a16="http://schemas.microsoft.com/office/drawing/2014/main" id="{45D6088A-A77B-4D01-B628-F35B707AB93F}"/>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0" name="Picture 99">
                    <a:extLst>
                      <a:ext uri="{FF2B5EF4-FFF2-40B4-BE49-F238E27FC236}">
                        <a16:creationId xmlns:a16="http://schemas.microsoft.com/office/drawing/2014/main" id="{58F2FD2C-41C3-48DF-B845-E0195D149342}"/>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pic>
          <p:nvPicPr>
            <p:cNvPr id="73" name="Picture 2" descr="Image result for nuget logo">
              <a:extLst>
                <a:ext uri="{FF2B5EF4-FFF2-40B4-BE49-F238E27FC236}">
                  <a16:creationId xmlns:a16="http://schemas.microsoft.com/office/drawing/2014/main" id="{86C991C8-0ED0-4EF4-872C-B30288CA32B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80529" y="2738894"/>
              <a:ext cx="686303" cy="686303"/>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5BC60FB5-C811-4008-B41A-A7FA1C2E3113}"/>
                </a:ext>
              </a:extLst>
            </p:cNvPr>
            <p:cNvSpPr/>
            <p:nvPr/>
          </p:nvSpPr>
          <p:spPr>
            <a:xfrm>
              <a:off x="8785255" y="4056993"/>
              <a:ext cx="690637"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a:t>
              </a:r>
            </a:p>
          </p:txBody>
        </p:sp>
      </p:grpSp>
      <p:sp>
        <p:nvSpPr>
          <p:cNvPr id="77" name="Rectangle 76">
            <a:extLst>
              <a:ext uri="{FF2B5EF4-FFF2-40B4-BE49-F238E27FC236}">
                <a16:creationId xmlns:a16="http://schemas.microsoft.com/office/drawing/2014/main" id="{E6E29360-FFF4-4036-BEDE-EBCC6358EC2E}"/>
              </a:ext>
            </a:extLst>
          </p:cNvPr>
          <p:cNvSpPr/>
          <p:nvPr/>
        </p:nvSpPr>
        <p:spPr>
          <a:xfrm>
            <a:off x="4289263" y="3325558"/>
            <a:ext cx="1279520" cy="55077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sp>
        <p:nvSpPr>
          <p:cNvPr id="86" name="Rectangle 85">
            <a:extLst>
              <a:ext uri="{FF2B5EF4-FFF2-40B4-BE49-F238E27FC236}">
                <a16:creationId xmlns:a16="http://schemas.microsoft.com/office/drawing/2014/main" id="{08E40C5C-063A-459A-B688-E87F0DE16D80}"/>
              </a:ext>
            </a:extLst>
          </p:cNvPr>
          <p:cNvSpPr/>
          <p:nvPr/>
        </p:nvSpPr>
        <p:spPr>
          <a:xfrm>
            <a:off x="1634488" y="4824631"/>
            <a:ext cx="1279520" cy="55077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sp>
        <p:nvSpPr>
          <p:cNvPr id="87" name="Rectangle 86">
            <a:extLst>
              <a:ext uri="{FF2B5EF4-FFF2-40B4-BE49-F238E27FC236}">
                <a16:creationId xmlns:a16="http://schemas.microsoft.com/office/drawing/2014/main" id="{DA942A14-96EA-4164-B3AF-9DAB58C77EF3}"/>
              </a:ext>
            </a:extLst>
          </p:cNvPr>
          <p:cNvSpPr/>
          <p:nvPr/>
        </p:nvSpPr>
        <p:spPr>
          <a:xfrm>
            <a:off x="1831838" y="1830747"/>
            <a:ext cx="741229" cy="41549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sv </a:t>
            </a:r>
            <a:r>
              <a:rPr lang="en-US" sz="1050" dirty="0">
                <a:solidFill>
                  <a:prstClr val="black"/>
                </a:solidFill>
                <a:latin typeface="Segoe UI" panose="020B0502040204020203" pitchFamily="34" charset="0"/>
                <a:cs typeface="Segoe UI" panose="020B0502040204020203" pitchFamily="34" charset="0"/>
              </a:rPr>
              <a:t>file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tc.</a:t>
            </a:r>
          </a:p>
        </p:txBody>
      </p:sp>
    </p:spTree>
    <p:extLst>
      <p:ext uri="{BB962C8B-B14F-4D97-AF65-F5344CB8AC3E}">
        <p14:creationId xmlns:p14="http://schemas.microsoft.com/office/powerpoint/2010/main" val="3706996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left)">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AEBFD86C-01B6-4341-8BD3-84DED229D3DD}"/>
              </a:ext>
            </a:extLst>
          </p:cNvPr>
          <p:cNvSpPr txBox="1">
            <a:spLocks/>
          </p:cNvSpPr>
          <p:nvPr/>
        </p:nvSpPr>
        <p:spPr>
          <a:xfrm>
            <a:off x="176002" y="130566"/>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3055" rtl="0" eaLnBrk="1" fontAlgn="auto" latinLnBrk="0" hangingPunct="1">
              <a:lnSpc>
                <a:spcPct val="90000"/>
              </a:lnSpc>
              <a:spcBef>
                <a:spcPts val="0"/>
              </a:spcBef>
              <a:spcAft>
                <a:spcPts val="0"/>
              </a:spcAft>
              <a:buClrTx/>
              <a:buSzTx/>
              <a:buFontTx/>
              <a:buNone/>
              <a:tabLst/>
              <a:defRPr/>
            </a:pPr>
            <a:endParaRPr kumimoji="0" lang="en-US" sz="5333" b="0" i="0" u="none" strike="noStrike" kern="1200" cap="none" spc="-100" normalizeH="0" baseline="0" noProof="0">
              <a:ln w="3175">
                <a:noFill/>
              </a:ln>
              <a:solidFill>
                <a:prstClr val="white">
                  <a:lumMod val="50000"/>
                </a:prstClr>
              </a:solidFill>
              <a:effectLst/>
              <a:uLnTx/>
              <a:uFillTx/>
              <a:latin typeface="Segoe UI Semibold" panose="020B0702040204020203" pitchFamily="34" charset="0"/>
              <a:ea typeface="+mn-ea"/>
              <a:cs typeface="Segoe UI" pitchFamily="34" charset="0"/>
            </a:endParaRPr>
          </a:p>
        </p:txBody>
      </p:sp>
      <p:sp>
        <p:nvSpPr>
          <p:cNvPr id="16" name="Title 1">
            <a:extLst>
              <a:ext uri="{FF2B5EF4-FFF2-40B4-BE49-F238E27FC236}">
                <a16:creationId xmlns:a16="http://schemas.microsoft.com/office/drawing/2014/main" id="{A146DF82-1C4D-4CF9-9DDE-5DBA35A4DD02}"/>
              </a:ext>
            </a:extLst>
          </p:cNvPr>
          <p:cNvSpPr txBox="1">
            <a:spLocks/>
          </p:cNvSpPr>
          <p:nvPr/>
        </p:nvSpPr>
        <p:spPr>
          <a:xfrm>
            <a:off x="369270" y="209775"/>
            <a:ext cx="11265681" cy="8229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srgbClr val="505050"/>
                </a:solidFill>
                <a:effectLst/>
                <a:uLnTx/>
                <a:uFillTx/>
                <a:latin typeface="Segoe UI Light"/>
                <a:ea typeface="+mj-ea"/>
                <a:cs typeface="Segoe UI" pitchFamily="34" charset="0"/>
              </a:rPr>
              <a:t>A few problems you can solve with ML.NET</a:t>
            </a:r>
          </a:p>
        </p:txBody>
      </p:sp>
      <p:sp>
        <p:nvSpPr>
          <p:cNvPr id="7" name="TextBox 6">
            <a:extLst>
              <a:ext uri="{FF2B5EF4-FFF2-40B4-BE49-F238E27FC236}">
                <a16:creationId xmlns:a16="http://schemas.microsoft.com/office/drawing/2014/main" id="{6089D563-18F3-4237-813B-57111E39B494}"/>
              </a:ext>
            </a:extLst>
          </p:cNvPr>
          <p:cNvSpPr txBox="1"/>
          <p:nvPr/>
        </p:nvSpPr>
        <p:spPr>
          <a:xfrm>
            <a:off x="708375" y="1774285"/>
            <a:ext cx="207781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Is this A or B?</a:t>
            </a:r>
          </a:p>
        </p:txBody>
      </p:sp>
      <p:sp>
        <p:nvSpPr>
          <p:cNvPr id="24" name="TextBox 23">
            <a:extLst>
              <a:ext uri="{FF2B5EF4-FFF2-40B4-BE49-F238E27FC236}">
                <a16:creationId xmlns:a16="http://schemas.microsoft.com/office/drawing/2014/main" id="{42150893-85B9-4E69-B669-A619924D6C50}"/>
              </a:ext>
            </a:extLst>
          </p:cNvPr>
          <p:cNvSpPr txBox="1"/>
          <p:nvPr/>
        </p:nvSpPr>
        <p:spPr>
          <a:xfrm>
            <a:off x="4060355" y="1759771"/>
            <a:ext cx="353680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ow much? How many?</a:t>
            </a:r>
          </a:p>
        </p:txBody>
      </p:sp>
      <p:sp>
        <p:nvSpPr>
          <p:cNvPr id="26" name="TextBox 25">
            <a:extLst>
              <a:ext uri="{FF2B5EF4-FFF2-40B4-BE49-F238E27FC236}">
                <a16:creationId xmlns:a16="http://schemas.microsoft.com/office/drawing/2014/main" id="{15F6CE76-8FA9-497B-8C34-AEE8B6C4FFBF}"/>
              </a:ext>
            </a:extLst>
          </p:cNvPr>
          <p:cNvSpPr txBox="1"/>
          <p:nvPr/>
        </p:nvSpPr>
        <p:spPr>
          <a:xfrm>
            <a:off x="8466815" y="1774284"/>
            <a:ext cx="332866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How is this organized</a:t>
            </a:r>
            <a:r>
              <a:rPr kumimoji="0" lang="en-US" sz="2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p:txBody>
      </p:sp>
      <p:pic>
        <p:nvPicPr>
          <p:cNvPr id="2" name="Picture 1">
            <a:extLst>
              <a:ext uri="{FF2B5EF4-FFF2-40B4-BE49-F238E27FC236}">
                <a16:creationId xmlns:a16="http://schemas.microsoft.com/office/drawing/2014/main" id="{6D69C20F-4FA0-43D5-B6A8-AE25FE816A6E}"/>
              </a:ext>
            </a:extLst>
          </p:cNvPr>
          <p:cNvPicPr>
            <a:picLocks noChangeAspect="1"/>
          </p:cNvPicPr>
          <p:nvPr/>
        </p:nvPicPr>
        <p:blipFill>
          <a:blip r:embed="rId3"/>
          <a:stretch>
            <a:fillRect/>
          </a:stretch>
        </p:blipFill>
        <p:spPr>
          <a:xfrm>
            <a:off x="8394947" y="2381260"/>
            <a:ext cx="3557847" cy="2743200"/>
          </a:xfrm>
          <a:prstGeom prst="rect">
            <a:avLst/>
          </a:prstGeom>
        </p:spPr>
      </p:pic>
      <p:pic>
        <p:nvPicPr>
          <p:cNvPr id="5" name="Picture 4">
            <a:extLst>
              <a:ext uri="{FF2B5EF4-FFF2-40B4-BE49-F238E27FC236}">
                <a16:creationId xmlns:a16="http://schemas.microsoft.com/office/drawing/2014/main" id="{ABCBC792-AE89-4A92-ACA7-CC29B1E0CCC8}"/>
              </a:ext>
            </a:extLst>
          </p:cNvPr>
          <p:cNvPicPr>
            <a:picLocks noChangeAspect="1"/>
          </p:cNvPicPr>
          <p:nvPr/>
        </p:nvPicPr>
        <p:blipFill>
          <a:blip r:embed="rId4"/>
          <a:stretch>
            <a:fillRect/>
          </a:stretch>
        </p:blipFill>
        <p:spPr>
          <a:xfrm>
            <a:off x="176002" y="2381260"/>
            <a:ext cx="3142557" cy="2743200"/>
          </a:xfrm>
          <a:prstGeom prst="rect">
            <a:avLst/>
          </a:prstGeom>
        </p:spPr>
      </p:pic>
      <p:pic>
        <p:nvPicPr>
          <p:cNvPr id="9" name="Picture 8">
            <a:extLst>
              <a:ext uri="{FF2B5EF4-FFF2-40B4-BE49-F238E27FC236}">
                <a16:creationId xmlns:a16="http://schemas.microsoft.com/office/drawing/2014/main" id="{197DDE89-0BB5-4302-8A7F-63F5E4F37074}"/>
              </a:ext>
            </a:extLst>
          </p:cNvPr>
          <p:cNvPicPr>
            <a:picLocks noChangeAspect="1"/>
          </p:cNvPicPr>
          <p:nvPr/>
        </p:nvPicPr>
        <p:blipFill>
          <a:blip r:embed="rId5"/>
          <a:stretch>
            <a:fillRect/>
          </a:stretch>
        </p:blipFill>
        <p:spPr>
          <a:xfrm>
            <a:off x="3662261" y="2381260"/>
            <a:ext cx="4426145" cy="2743200"/>
          </a:xfrm>
          <a:prstGeom prst="rect">
            <a:avLst/>
          </a:prstGeom>
        </p:spPr>
      </p:pic>
    </p:spTree>
    <p:extLst>
      <p:ext uri="{BB962C8B-B14F-4D97-AF65-F5344CB8AC3E}">
        <p14:creationId xmlns:p14="http://schemas.microsoft.com/office/powerpoint/2010/main" val="22434521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753E3-7622-443B-9A52-C3C984AA91F4}"/>
              </a:ext>
            </a:extLst>
          </p:cNvPr>
          <p:cNvSpPr>
            <a:spLocks noGrp="1"/>
          </p:cNvSpPr>
          <p:nvPr>
            <p:ph type="title"/>
          </p:nvPr>
        </p:nvSpPr>
        <p:spPr>
          <a:xfrm>
            <a:off x="438615" y="1446"/>
            <a:ext cx="10749776" cy="714512"/>
          </a:xfrm>
        </p:spPr>
        <p:txBody>
          <a:bodyPr>
            <a:noAutofit/>
          </a:bodyPr>
          <a:lstStyle/>
          <a:p>
            <a:r>
              <a:rPr lang="en-US" sz="3200" dirty="0">
                <a:latin typeface="Segoe UI Light" panose="020B0502040204020203" pitchFamily="34" charset="0"/>
                <a:cs typeface="Segoe UI Light" panose="020B0502040204020203" pitchFamily="34" charset="0"/>
              </a:rPr>
              <a:t>Mapping from Problems </a:t>
            </a:r>
            <a:r>
              <a:rPr lang="en-US" sz="3200" dirty="0">
                <a:latin typeface="Segoe UI Light" panose="020B0502040204020203" pitchFamily="34" charset="0"/>
                <a:cs typeface="Segoe UI Light" panose="020B0502040204020203" pitchFamily="34" charset="0"/>
                <a:sym typeface="Wingdings" panose="05000000000000000000" pitchFamily="2" charset="2"/>
              </a:rPr>
              <a:t>to ML Tasks</a:t>
            </a:r>
            <a:endParaRPr lang="en-US" sz="3200" dirty="0">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CC48FB37-CCC5-4AC1-B176-3243FF70DF6B}"/>
              </a:ext>
            </a:extLst>
          </p:cNvPr>
          <p:cNvSpPr/>
          <p:nvPr/>
        </p:nvSpPr>
        <p:spPr>
          <a:xfrm>
            <a:off x="1001530" y="1911096"/>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omething is A or B</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E9796047-272A-4D52-8BC6-ECEE0E07961C}"/>
              </a:ext>
            </a:extLst>
          </p:cNvPr>
          <p:cNvSpPr/>
          <p:nvPr/>
        </p:nvSpPr>
        <p:spPr>
          <a:xfrm>
            <a:off x="1001530" y="2604788"/>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tect issues/problems</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B262718F-3AEB-467F-9596-1085FADAFD92}"/>
              </a:ext>
            </a:extLst>
          </p:cNvPr>
          <p:cNvSpPr/>
          <p:nvPr/>
        </p:nvSpPr>
        <p:spPr>
          <a:xfrm>
            <a:off x="1001530" y="329848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roup similar objects into sets</a:t>
            </a:r>
          </a:p>
        </p:txBody>
      </p:sp>
      <p:sp>
        <p:nvSpPr>
          <p:cNvPr id="11" name="Rectangle 10">
            <a:extLst>
              <a:ext uri="{FF2B5EF4-FFF2-40B4-BE49-F238E27FC236}">
                <a16:creationId xmlns:a16="http://schemas.microsoft.com/office/drawing/2014/main" id="{CAD033E0-8A55-4172-8835-9AC3171E88F3}"/>
              </a:ext>
            </a:extLst>
          </p:cNvPr>
          <p:cNvSpPr/>
          <p:nvPr/>
        </p:nvSpPr>
        <p:spPr>
          <a:xfrm>
            <a:off x="1001530" y="398829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relevance of objects</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DD39C09B-E716-41F0-A4BC-2F0BA187FBC6}"/>
              </a:ext>
            </a:extLst>
          </p:cNvPr>
          <p:cNvSpPr/>
          <p:nvPr/>
        </p:nvSpPr>
        <p:spPr>
          <a:xfrm>
            <a:off x="1001530" y="467810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values based on time/seasons historic data</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7FE3AE2D-7D98-4FB8-8577-A62BA1CCA747}"/>
              </a:ext>
            </a:extLst>
          </p:cNvPr>
          <p:cNvSpPr/>
          <p:nvPr/>
        </p:nvSpPr>
        <p:spPr>
          <a:xfrm>
            <a:off x="1001530" y="1217404"/>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value</a:t>
            </a: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price, forecast, etc.)</a:t>
            </a:r>
          </a:p>
        </p:txBody>
      </p:sp>
      <p:sp>
        <p:nvSpPr>
          <p:cNvPr id="14" name="Rectangle 13">
            <a:extLst>
              <a:ext uri="{FF2B5EF4-FFF2-40B4-BE49-F238E27FC236}">
                <a16:creationId xmlns:a16="http://schemas.microsoft.com/office/drawing/2014/main" id="{4737B381-B46A-4539-AAE2-47CA927DFBA9}"/>
              </a:ext>
            </a:extLst>
          </p:cNvPr>
          <p:cNvSpPr/>
          <p:nvPr/>
        </p:nvSpPr>
        <p:spPr>
          <a:xfrm>
            <a:off x="1001530" y="536791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vice on products/movies/etc.</a:t>
            </a:r>
          </a:p>
        </p:txBody>
      </p:sp>
      <p:sp>
        <p:nvSpPr>
          <p:cNvPr id="15" name="Rectangle 14">
            <a:extLst>
              <a:ext uri="{FF2B5EF4-FFF2-40B4-BE49-F238E27FC236}">
                <a16:creationId xmlns:a16="http://schemas.microsoft.com/office/drawing/2014/main" id="{5596C0A8-DA37-479A-8BEC-53244B4DCB9C}"/>
              </a:ext>
            </a:extLst>
          </p:cNvPr>
          <p:cNvSpPr/>
          <p:nvPr/>
        </p:nvSpPr>
        <p:spPr>
          <a:xfrm>
            <a:off x="1001530" y="605772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assify things across multiple categories</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Rectangle 15">
            <a:extLst>
              <a:ext uri="{FF2B5EF4-FFF2-40B4-BE49-F238E27FC236}">
                <a16:creationId xmlns:a16="http://schemas.microsoft.com/office/drawing/2014/main" id="{813C257F-96DE-4334-A641-704532A1FF33}"/>
              </a:ext>
            </a:extLst>
          </p:cNvPr>
          <p:cNvSpPr/>
          <p:nvPr/>
        </p:nvSpPr>
        <p:spPr>
          <a:xfrm>
            <a:off x="7358349" y="1911096"/>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ustering</a:t>
            </a:r>
          </a:p>
        </p:txBody>
      </p:sp>
      <p:sp>
        <p:nvSpPr>
          <p:cNvPr id="17" name="Rectangle 16">
            <a:extLst>
              <a:ext uri="{FF2B5EF4-FFF2-40B4-BE49-F238E27FC236}">
                <a16:creationId xmlns:a16="http://schemas.microsoft.com/office/drawing/2014/main" id="{FB99825A-720B-4B34-90D0-8353DFAB6F5C}"/>
              </a:ext>
            </a:extLst>
          </p:cNvPr>
          <p:cNvSpPr/>
          <p:nvPr/>
        </p:nvSpPr>
        <p:spPr>
          <a:xfrm>
            <a:off x="7358349" y="2604788"/>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commendations</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Rectangle 17">
            <a:extLst>
              <a:ext uri="{FF2B5EF4-FFF2-40B4-BE49-F238E27FC236}">
                <a16:creationId xmlns:a16="http://schemas.microsoft.com/office/drawing/2014/main" id="{BA36B628-B263-4EE7-844E-C2E71A83152B}"/>
              </a:ext>
            </a:extLst>
          </p:cNvPr>
          <p:cNvSpPr/>
          <p:nvPr/>
        </p:nvSpPr>
        <p:spPr>
          <a:xfrm>
            <a:off x="7358349" y="329848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ulti-class Classification</a:t>
            </a:r>
          </a:p>
        </p:txBody>
      </p:sp>
      <p:sp>
        <p:nvSpPr>
          <p:cNvPr id="19" name="Rectangle 18">
            <a:extLst>
              <a:ext uri="{FF2B5EF4-FFF2-40B4-BE49-F238E27FC236}">
                <a16:creationId xmlns:a16="http://schemas.microsoft.com/office/drawing/2014/main" id="{F5E759A3-6964-4FAF-B660-CA166668315F}"/>
              </a:ext>
            </a:extLst>
          </p:cNvPr>
          <p:cNvSpPr/>
          <p:nvPr/>
        </p:nvSpPr>
        <p:spPr>
          <a:xfrm>
            <a:off x="7358349" y="398829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gress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3619ED6A-FF40-414D-B05F-C94130D8B0FE}"/>
              </a:ext>
            </a:extLst>
          </p:cNvPr>
          <p:cNvSpPr/>
          <p:nvPr/>
        </p:nvSpPr>
        <p:spPr>
          <a:xfrm>
            <a:off x="7358349" y="467810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inary Classificat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1" name="Rectangle 20">
            <a:extLst>
              <a:ext uri="{FF2B5EF4-FFF2-40B4-BE49-F238E27FC236}">
                <a16:creationId xmlns:a16="http://schemas.microsoft.com/office/drawing/2014/main" id="{841097AF-B37A-4750-B33A-5D777490F7AA}"/>
              </a:ext>
            </a:extLst>
          </p:cNvPr>
          <p:cNvSpPr/>
          <p:nvPr/>
        </p:nvSpPr>
        <p:spPr>
          <a:xfrm>
            <a:off x="7358349" y="1217404"/>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ime Series</a:t>
            </a:r>
          </a:p>
        </p:txBody>
      </p:sp>
      <p:sp>
        <p:nvSpPr>
          <p:cNvPr id="22" name="Rectangle 21">
            <a:extLst>
              <a:ext uri="{FF2B5EF4-FFF2-40B4-BE49-F238E27FC236}">
                <a16:creationId xmlns:a16="http://schemas.microsoft.com/office/drawing/2014/main" id="{D7ECF101-6E39-4185-9DF8-77AC407E55D8}"/>
              </a:ext>
            </a:extLst>
          </p:cNvPr>
          <p:cNvSpPr/>
          <p:nvPr/>
        </p:nvSpPr>
        <p:spPr>
          <a:xfrm>
            <a:off x="7358349" y="536791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anking</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3" name="Rectangle 22">
            <a:extLst>
              <a:ext uri="{FF2B5EF4-FFF2-40B4-BE49-F238E27FC236}">
                <a16:creationId xmlns:a16="http://schemas.microsoft.com/office/drawing/2014/main" id="{2090C4A3-0C35-4D4E-9531-C06F9950B40C}"/>
              </a:ext>
            </a:extLst>
          </p:cNvPr>
          <p:cNvSpPr/>
          <p:nvPr/>
        </p:nvSpPr>
        <p:spPr>
          <a:xfrm>
            <a:off x="7358349" y="605772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omaly Detect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25" name="Straight Connector 24">
            <a:extLst>
              <a:ext uri="{FF2B5EF4-FFF2-40B4-BE49-F238E27FC236}">
                <a16:creationId xmlns:a16="http://schemas.microsoft.com/office/drawing/2014/main" id="{A7803382-6513-46AD-B29F-EA42C0E9E482}"/>
              </a:ext>
            </a:extLst>
          </p:cNvPr>
          <p:cNvCxnSpPr>
            <a:cxnSpLocks/>
            <a:stCxn id="13" idx="3"/>
            <a:endCxn id="19" idx="1"/>
          </p:cNvCxnSpPr>
          <p:nvPr/>
        </p:nvCxnSpPr>
        <p:spPr>
          <a:xfrm>
            <a:off x="4989309" y="1505784"/>
            <a:ext cx="2369040" cy="2770886"/>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5292FEC2-060E-41E4-B555-C4C4CA6C30AF}"/>
              </a:ext>
            </a:extLst>
          </p:cNvPr>
          <p:cNvCxnSpPr>
            <a:cxnSpLocks/>
            <a:stCxn id="3" idx="3"/>
            <a:endCxn id="20" idx="1"/>
          </p:cNvCxnSpPr>
          <p:nvPr/>
        </p:nvCxnSpPr>
        <p:spPr>
          <a:xfrm>
            <a:off x="4989309" y="2199476"/>
            <a:ext cx="2369040" cy="2767004"/>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F84A99A-17B6-4468-9410-A4D28E97B066}"/>
              </a:ext>
            </a:extLst>
          </p:cNvPr>
          <p:cNvCxnSpPr>
            <a:cxnSpLocks/>
            <a:stCxn id="9" idx="3"/>
            <a:endCxn id="23" idx="1"/>
          </p:cNvCxnSpPr>
          <p:nvPr/>
        </p:nvCxnSpPr>
        <p:spPr>
          <a:xfrm>
            <a:off x="4989309" y="2893168"/>
            <a:ext cx="2369040" cy="3452932"/>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CF414F5-CF4D-44BD-8868-9F8B5E282984}"/>
              </a:ext>
            </a:extLst>
          </p:cNvPr>
          <p:cNvCxnSpPr>
            <a:cxnSpLocks/>
            <a:stCxn id="10" idx="3"/>
            <a:endCxn id="16" idx="1"/>
          </p:cNvCxnSpPr>
          <p:nvPr/>
        </p:nvCxnSpPr>
        <p:spPr>
          <a:xfrm flipV="1">
            <a:off x="4989309" y="2199476"/>
            <a:ext cx="2369040" cy="1387384"/>
          </a:xfrm>
          <a:prstGeom prst="line">
            <a:avLst/>
          </a:prstGeom>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167C8DB3-3584-4BCB-B3CF-6C017C01893C}"/>
              </a:ext>
            </a:extLst>
          </p:cNvPr>
          <p:cNvCxnSpPr>
            <a:cxnSpLocks/>
            <a:stCxn id="11" idx="3"/>
            <a:endCxn id="22" idx="1"/>
          </p:cNvCxnSpPr>
          <p:nvPr/>
        </p:nvCxnSpPr>
        <p:spPr>
          <a:xfrm>
            <a:off x="4989309" y="4276670"/>
            <a:ext cx="2369040" cy="1379620"/>
          </a:xfrm>
          <a:prstGeom prst="line">
            <a:avLst/>
          </a:prstGeom>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0C8D174-4F2B-4B97-ABB1-1B3ADAD032D0}"/>
              </a:ext>
            </a:extLst>
          </p:cNvPr>
          <p:cNvCxnSpPr>
            <a:cxnSpLocks/>
            <a:stCxn id="12" idx="3"/>
            <a:endCxn id="21" idx="1"/>
          </p:cNvCxnSpPr>
          <p:nvPr/>
        </p:nvCxnSpPr>
        <p:spPr>
          <a:xfrm flipV="1">
            <a:off x="4989309" y="1505784"/>
            <a:ext cx="2369040" cy="3460696"/>
          </a:xfrm>
          <a:prstGeom prst="line">
            <a:avLst/>
          </a:prstGeom>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5A71A80-56A0-402E-9D9D-812F7D16D656}"/>
              </a:ext>
            </a:extLst>
          </p:cNvPr>
          <p:cNvCxnSpPr>
            <a:cxnSpLocks/>
            <a:stCxn id="14" idx="3"/>
            <a:endCxn id="17" idx="1"/>
          </p:cNvCxnSpPr>
          <p:nvPr/>
        </p:nvCxnSpPr>
        <p:spPr>
          <a:xfrm flipV="1">
            <a:off x="4989309" y="2893168"/>
            <a:ext cx="2369040" cy="2763122"/>
          </a:xfrm>
          <a:prstGeom prst="line">
            <a:avLst/>
          </a:prstGeom>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71313A0-70A2-414A-AE3D-86EE0B33A787}"/>
              </a:ext>
            </a:extLst>
          </p:cNvPr>
          <p:cNvCxnSpPr>
            <a:cxnSpLocks/>
            <a:stCxn id="15" idx="3"/>
            <a:endCxn id="18" idx="1"/>
          </p:cNvCxnSpPr>
          <p:nvPr/>
        </p:nvCxnSpPr>
        <p:spPr>
          <a:xfrm flipV="1">
            <a:off x="4989309" y="3586860"/>
            <a:ext cx="2369040" cy="2759240"/>
          </a:xfrm>
          <a:prstGeom prst="line">
            <a:avLst/>
          </a:prstGeom>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6331C65B-D766-4F22-BFEF-FB16576BBC29}"/>
              </a:ext>
            </a:extLst>
          </p:cNvPr>
          <p:cNvSpPr/>
          <p:nvPr/>
        </p:nvSpPr>
        <p:spPr>
          <a:xfrm>
            <a:off x="2336136" y="758828"/>
            <a:ext cx="1318566"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blem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40B3C0D-8072-4EA9-BD5D-BDBCA6D76A05}"/>
              </a:ext>
            </a:extLst>
          </p:cNvPr>
          <p:cNvSpPr/>
          <p:nvPr/>
        </p:nvSpPr>
        <p:spPr>
          <a:xfrm>
            <a:off x="8692955" y="758828"/>
            <a:ext cx="1300997"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Task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4040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left)">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wipe(left)">
                                      <p:cBhvr>
                                        <p:cTn id="26" dur="500"/>
                                        <p:tgtEl>
                                          <p:spTgt spid="36"/>
                                        </p:tgtEl>
                                      </p:cBhvr>
                                    </p:animEffect>
                                  </p:childTnLst>
                                </p:cTn>
                              </p:par>
                            </p:childTnLst>
                          </p:cTn>
                        </p:par>
                        <p:par>
                          <p:cTn id="27" fill="hold">
                            <p:stCondLst>
                              <p:cond delay="1000"/>
                            </p:stCondLst>
                            <p:childTnLst>
                              <p:par>
                                <p:cTn id="28" presetID="22" presetClass="entr" presetSubtype="8" fill="hold" nodeType="after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left)">
                                      <p:cBhvr>
                                        <p:cTn id="30" dur="500"/>
                                        <p:tgtEl>
                                          <p:spTgt spid="39"/>
                                        </p:tgtEl>
                                      </p:cBhvr>
                                    </p:animEffect>
                                  </p:childTnLst>
                                </p:cTn>
                              </p:par>
                            </p:childTnLst>
                          </p:cTn>
                        </p:par>
                        <p:par>
                          <p:cTn id="31" fill="hold">
                            <p:stCondLst>
                              <p:cond delay="1500"/>
                            </p:stCondLst>
                            <p:childTnLst>
                              <p:par>
                                <p:cTn id="32" presetID="22" presetClass="entr" presetSubtype="8" fill="hold" nodeType="after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wipe(left)">
                                      <p:cBhvr>
                                        <p:cTn id="34" dur="500"/>
                                        <p:tgtEl>
                                          <p:spTgt spid="42"/>
                                        </p:tgtEl>
                                      </p:cBhvr>
                                    </p:animEffect>
                                  </p:childTnLst>
                                </p:cTn>
                              </p:par>
                            </p:childTnLst>
                          </p:cTn>
                        </p:par>
                        <p:par>
                          <p:cTn id="35" fill="hold">
                            <p:stCondLst>
                              <p:cond delay="2000"/>
                            </p:stCondLst>
                            <p:childTnLst>
                              <p:par>
                                <p:cTn id="36" presetID="22" presetClass="entr" presetSubtype="8" fill="hold" nodeType="after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wipe(left)">
                                      <p:cBhvr>
                                        <p:cTn id="3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1FD86486-A8C8-4AD9-B6A3-B5D8E3E7F65A}"/>
              </a:ext>
            </a:extLst>
          </p:cNvPr>
          <p:cNvSpPr/>
          <p:nvPr/>
        </p:nvSpPr>
        <p:spPr bwMode="auto">
          <a:xfrm>
            <a:off x="866114" y="1269434"/>
            <a:ext cx="10546157" cy="1135108"/>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Developer-friendly ML APIs to:</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39" name="Title 1">
            <a:extLst>
              <a:ext uri="{FF2B5EF4-FFF2-40B4-BE49-F238E27FC236}">
                <a16:creationId xmlns:a16="http://schemas.microsoft.com/office/drawing/2014/main" id="{3D0A0654-E092-4FF4-93CA-E1D55927742F}"/>
              </a:ext>
            </a:extLst>
          </p:cNvPr>
          <p:cNvSpPr txBox="1">
            <a:spLocks/>
          </p:cNvSpPr>
          <p:nvPr/>
        </p:nvSpPr>
        <p:spPr>
          <a:xfrm>
            <a:off x="490685" y="224942"/>
            <a:ext cx="1101852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prstClr val="black"/>
                </a:solidFill>
                <a:effectLst/>
                <a:uLnTx/>
                <a:uFillTx/>
                <a:latin typeface="Segoe UI Light" panose="020B0502040204020203" pitchFamily="34" charset="0"/>
                <a:ea typeface="+mn-ea"/>
                <a:cs typeface="Segoe UI Light" panose="020B0502040204020203" pitchFamily="34" charset="0"/>
              </a:rPr>
              <a:t>ML.NET is a framework first</a:t>
            </a:r>
          </a:p>
        </p:txBody>
      </p:sp>
      <p:grpSp>
        <p:nvGrpSpPr>
          <p:cNvPr id="4" name="Group 3">
            <a:extLst>
              <a:ext uri="{FF2B5EF4-FFF2-40B4-BE49-F238E27FC236}">
                <a16:creationId xmlns:a16="http://schemas.microsoft.com/office/drawing/2014/main" id="{37F18881-62AA-421C-A734-F8AAC6992ED4}"/>
              </a:ext>
            </a:extLst>
          </p:cNvPr>
          <p:cNvGrpSpPr/>
          <p:nvPr/>
        </p:nvGrpSpPr>
        <p:grpSpPr>
          <a:xfrm>
            <a:off x="866115" y="2690605"/>
            <a:ext cx="10573167" cy="3642731"/>
            <a:chOff x="866115" y="2690605"/>
            <a:chExt cx="10573167" cy="3642731"/>
          </a:xfrm>
        </p:grpSpPr>
        <p:sp>
          <p:nvSpPr>
            <p:cNvPr id="75" name="Rectangle 74">
              <a:extLst>
                <a:ext uri="{FF2B5EF4-FFF2-40B4-BE49-F238E27FC236}">
                  <a16:creationId xmlns:a16="http://schemas.microsoft.com/office/drawing/2014/main" id="{D1011CC3-F920-4AFE-ABC4-D62B7B25815F}"/>
                </a:ext>
              </a:extLst>
            </p:cNvPr>
            <p:cNvSpPr/>
            <p:nvPr/>
          </p:nvSpPr>
          <p:spPr>
            <a:xfrm>
              <a:off x="866116" y="2708082"/>
              <a:ext cx="2509965" cy="3625254"/>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Rectangle 75">
              <a:extLst>
                <a:ext uri="{FF2B5EF4-FFF2-40B4-BE49-F238E27FC236}">
                  <a16:creationId xmlns:a16="http://schemas.microsoft.com/office/drawing/2014/main" id="{EF41F478-21A3-4992-8474-88805B7EE70E}"/>
                </a:ext>
              </a:extLst>
            </p:cNvPr>
            <p:cNvSpPr/>
            <p:nvPr/>
          </p:nvSpPr>
          <p:spPr bwMode="auto">
            <a:xfrm>
              <a:off x="866115" y="2708080"/>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ansforms</a:t>
              </a:r>
            </a:p>
          </p:txBody>
        </p:sp>
        <p:sp>
          <p:nvSpPr>
            <p:cNvPr id="77" name="Rectangle 76">
              <a:extLst>
                <a:ext uri="{FF2B5EF4-FFF2-40B4-BE49-F238E27FC236}">
                  <a16:creationId xmlns:a16="http://schemas.microsoft.com/office/drawing/2014/main" id="{EF0E924A-19E8-432E-92CD-3CB126F7A60E}"/>
                </a:ext>
              </a:extLst>
            </p:cNvPr>
            <p:cNvSpPr/>
            <p:nvPr/>
          </p:nvSpPr>
          <p:spPr>
            <a:xfrm>
              <a:off x="3576373" y="2708082"/>
              <a:ext cx="2509965" cy="3625254"/>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Rectangle 77">
              <a:extLst>
                <a:ext uri="{FF2B5EF4-FFF2-40B4-BE49-F238E27FC236}">
                  <a16:creationId xmlns:a16="http://schemas.microsoft.com/office/drawing/2014/main" id="{B6C10382-F6D7-499C-8DE6-ECEE383FEB5E}"/>
                </a:ext>
              </a:extLst>
            </p:cNvPr>
            <p:cNvSpPr/>
            <p:nvPr/>
          </p:nvSpPr>
          <p:spPr bwMode="auto">
            <a:xfrm>
              <a:off x="3576372" y="2708080"/>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earners</a:t>
              </a:r>
            </a:p>
          </p:txBody>
        </p:sp>
        <p:sp>
          <p:nvSpPr>
            <p:cNvPr id="79" name="Rectangle 78">
              <a:extLst>
                <a:ext uri="{FF2B5EF4-FFF2-40B4-BE49-F238E27FC236}">
                  <a16:creationId xmlns:a16="http://schemas.microsoft.com/office/drawing/2014/main" id="{ADDC31A3-61C5-4A22-95D4-00E9CEEB7D28}"/>
                </a:ext>
              </a:extLst>
            </p:cNvPr>
            <p:cNvSpPr/>
            <p:nvPr/>
          </p:nvSpPr>
          <p:spPr>
            <a:xfrm>
              <a:off x="1033427" y="338013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ext</a:t>
              </a:r>
            </a:p>
          </p:txBody>
        </p:sp>
        <p:sp>
          <p:nvSpPr>
            <p:cNvPr id="81" name="Rectangle 80">
              <a:extLst>
                <a:ext uri="{FF2B5EF4-FFF2-40B4-BE49-F238E27FC236}">
                  <a16:creationId xmlns:a16="http://schemas.microsoft.com/office/drawing/2014/main" id="{5D2BCD23-E39F-4BD1-9101-7321D8C97BA2}"/>
                </a:ext>
              </a:extLst>
            </p:cNvPr>
            <p:cNvSpPr/>
            <p:nvPr/>
          </p:nvSpPr>
          <p:spPr>
            <a:xfrm>
              <a:off x="1023995" y="380867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chema</a:t>
              </a:r>
            </a:p>
          </p:txBody>
        </p:sp>
        <p:sp>
          <p:nvSpPr>
            <p:cNvPr id="82" name="Rectangle 81">
              <a:extLst>
                <a:ext uri="{FF2B5EF4-FFF2-40B4-BE49-F238E27FC236}">
                  <a16:creationId xmlns:a16="http://schemas.microsoft.com/office/drawing/2014/main" id="{42FFBB82-0E21-48CB-8DF3-AB361284CC27}"/>
                </a:ext>
              </a:extLst>
            </p:cNvPr>
            <p:cNvSpPr/>
            <p:nvPr/>
          </p:nvSpPr>
          <p:spPr>
            <a:xfrm>
              <a:off x="1023994" y="4239040"/>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ssing values</a:t>
              </a:r>
            </a:p>
          </p:txBody>
        </p:sp>
        <p:sp>
          <p:nvSpPr>
            <p:cNvPr id="83" name="Rectangle 82">
              <a:extLst>
                <a:ext uri="{FF2B5EF4-FFF2-40B4-BE49-F238E27FC236}">
                  <a16:creationId xmlns:a16="http://schemas.microsoft.com/office/drawing/2014/main" id="{3D384E55-4C68-4C66-8216-CA8561980FC3}"/>
                </a:ext>
              </a:extLst>
            </p:cNvPr>
            <p:cNvSpPr/>
            <p:nvPr/>
          </p:nvSpPr>
          <p:spPr>
            <a:xfrm>
              <a:off x="1033427" y="466940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tegorical</a:t>
              </a:r>
            </a:p>
          </p:txBody>
        </p:sp>
        <p:sp>
          <p:nvSpPr>
            <p:cNvPr id="84" name="Rectangle 83">
              <a:extLst>
                <a:ext uri="{FF2B5EF4-FFF2-40B4-BE49-F238E27FC236}">
                  <a16:creationId xmlns:a16="http://schemas.microsoft.com/office/drawing/2014/main" id="{41CC6963-3FAD-4F76-BEB6-7877910BAABE}"/>
                </a:ext>
              </a:extLst>
            </p:cNvPr>
            <p:cNvSpPr/>
            <p:nvPr/>
          </p:nvSpPr>
          <p:spPr>
            <a:xfrm>
              <a:off x="1033427" y="5105672"/>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ormalization</a:t>
              </a:r>
            </a:p>
          </p:txBody>
        </p:sp>
        <p:sp>
          <p:nvSpPr>
            <p:cNvPr id="85" name="Rectangle 84">
              <a:extLst>
                <a:ext uri="{FF2B5EF4-FFF2-40B4-BE49-F238E27FC236}">
                  <a16:creationId xmlns:a16="http://schemas.microsoft.com/office/drawing/2014/main" id="{17611623-0BA3-45BB-8B56-7D1B40241462}"/>
                </a:ext>
              </a:extLst>
            </p:cNvPr>
            <p:cNvSpPr/>
            <p:nvPr/>
          </p:nvSpPr>
          <p:spPr>
            <a:xfrm>
              <a:off x="1023995" y="5536037"/>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eature Selection</a:t>
              </a:r>
            </a:p>
          </p:txBody>
        </p:sp>
        <p:sp>
          <p:nvSpPr>
            <p:cNvPr id="87" name="Rectangle 86">
              <a:extLst>
                <a:ext uri="{FF2B5EF4-FFF2-40B4-BE49-F238E27FC236}">
                  <a16:creationId xmlns:a16="http://schemas.microsoft.com/office/drawing/2014/main" id="{0BD2FFF6-A830-407D-A390-81669763ED19}"/>
                </a:ext>
              </a:extLst>
            </p:cNvPr>
            <p:cNvSpPr/>
            <p:nvPr/>
          </p:nvSpPr>
          <p:spPr>
            <a:xfrm>
              <a:off x="3733634" y="3387216"/>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inear</a:t>
              </a:r>
            </a:p>
          </p:txBody>
        </p:sp>
        <p:sp>
          <p:nvSpPr>
            <p:cNvPr id="88" name="Rectangle 87">
              <a:extLst>
                <a:ext uri="{FF2B5EF4-FFF2-40B4-BE49-F238E27FC236}">
                  <a16:creationId xmlns:a16="http://schemas.microsoft.com/office/drawing/2014/main" id="{2756DE45-E38F-42C4-B0A0-62986BD0E70B}"/>
                </a:ext>
              </a:extLst>
            </p:cNvPr>
            <p:cNvSpPr/>
            <p:nvPr/>
          </p:nvSpPr>
          <p:spPr>
            <a:xfrm>
              <a:off x="3733634" y="3823483"/>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oosted Trees</a:t>
              </a:r>
            </a:p>
          </p:txBody>
        </p:sp>
        <p:sp>
          <p:nvSpPr>
            <p:cNvPr id="89" name="Rectangle 88">
              <a:extLst>
                <a:ext uri="{FF2B5EF4-FFF2-40B4-BE49-F238E27FC236}">
                  <a16:creationId xmlns:a16="http://schemas.microsoft.com/office/drawing/2014/main" id="{0D97EFA2-6A6F-4395-BF5A-4134E76E6865}"/>
                </a:ext>
              </a:extLst>
            </p:cNvPr>
            <p:cNvSpPr/>
            <p:nvPr/>
          </p:nvSpPr>
          <p:spPr>
            <a:xfrm>
              <a:off x="3724202" y="4253848"/>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vm</a:t>
              </a:r>
            </a:p>
          </p:txBody>
        </p:sp>
        <p:sp>
          <p:nvSpPr>
            <p:cNvPr id="90" name="Rectangle 89">
              <a:extLst>
                <a:ext uri="{FF2B5EF4-FFF2-40B4-BE49-F238E27FC236}">
                  <a16:creationId xmlns:a16="http://schemas.microsoft.com/office/drawing/2014/main" id="{56B7A4C4-D8AF-4D84-8387-7F78F40E0622}"/>
                </a:ext>
              </a:extLst>
            </p:cNvPr>
            <p:cNvSpPr/>
            <p:nvPr/>
          </p:nvSpPr>
          <p:spPr>
            <a:xfrm>
              <a:off x="3724201" y="4684213"/>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K-Means</a:t>
              </a:r>
            </a:p>
          </p:txBody>
        </p:sp>
        <p:sp>
          <p:nvSpPr>
            <p:cNvPr id="92" name="Rectangle 91">
              <a:extLst>
                <a:ext uri="{FF2B5EF4-FFF2-40B4-BE49-F238E27FC236}">
                  <a16:creationId xmlns:a16="http://schemas.microsoft.com/office/drawing/2014/main" id="{2C62D2E3-6A73-4D54-9B9D-A0DC28D4EF01}"/>
                </a:ext>
              </a:extLst>
            </p:cNvPr>
            <p:cNvSpPr/>
            <p:nvPr/>
          </p:nvSpPr>
          <p:spPr>
            <a:xfrm>
              <a:off x="6257003" y="2690606"/>
              <a:ext cx="2509965" cy="3642729"/>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D999A503-DCA7-4D32-9536-DCA649BD4266}"/>
                </a:ext>
              </a:extLst>
            </p:cNvPr>
            <p:cNvSpPr/>
            <p:nvPr/>
          </p:nvSpPr>
          <p:spPr bwMode="auto">
            <a:xfrm>
              <a:off x="6257002" y="2690605"/>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sc.</a:t>
              </a:r>
            </a:p>
          </p:txBody>
        </p:sp>
        <p:sp>
          <p:nvSpPr>
            <p:cNvPr id="94" name="Rectangle 93">
              <a:extLst>
                <a:ext uri="{FF2B5EF4-FFF2-40B4-BE49-F238E27FC236}">
                  <a16:creationId xmlns:a16="http://schemas.microsoft.com/office/drawing/2014/main" id="{B4FF08A8-C4A7-44B7-9BC9-DDA857C7D272}"/>
                </a:ext>
              </a:extLst>
            </p:cNvPr>
            <p:cNvSpPr/>
            <p:nvPr/>
          </p:nvSpPr>
          <p:spPr>
            <a:xfrm>
              <a:off x="6411533" y="3364364"/>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L Data framework</a:t>
              </a:r>
            </a:p>
          </p:txBody>
        </p:sp>
        <p:sp>
          <p:nvSpPr>
            <p:cNvPr id="95" name="Rectangle 94">
              <a:extLst>
                <a:ext uri="{FF2B5EF4-FFF2-40B4-BE49-F238E27FC236}">
                  <a16:creationId xmlns:a16="http://schemas.microsoft.com/office/drawing/2014/main" id="{018A91C4-8E69-46CE-8377-112DB763939C}"/>
                </a:ext>
              </a:extLst>
            </p:cNvPr>
            <p:cNvSpPr/>
            <p:nvPr/>
          </p:nvSpPr>
          <p:spPr>
            <a:xfrm>
              <a:off x="6411533" y="3800631"/>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valuators</a:t>
              </a:r>
            </a:p>
          </p:txBody>
        </p:sp>
        <p:sp>
          <p:nvSpPr>
            <p:cNvPr id="96" name="Rectangle 95">
              <a:extLst>
                <a:ext uri="{FF2B5EF4-FFF2-40B4-BE49-F238E27FC236}">
                  <a16:creationId xmlns:a16="http://schemas.microsoft.com/office/drawing/2014/main" id="{0340DD49-42EF-4037-839D-93E43973F637}"/>
                </a:ext>
              </a:extLst>
            </p:cNvPr>
            <p:cNvSpPr/>
            <p:nvPr/>
          </p:nvSpPr>
          <p:spPr>
            <a:xfrm>
              <a:off x="6402101" y="4230996"/>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librators</a:t>
              </a:r>
            </a:p>
          </p:txBody>
        </p:sp>
        <p:sp>
          <p:nvSpPr>
            <p:cNvPr id="97" name="Rectangle 96">
              <a:extLst>
                <a:ext uri="{FF2B5EF4-FFF2-40B4-BE49-F238E27FC236}">
                  <a16:creationId xmlns:a16="http://schemas.microsoft.com/office/drawing/2014/main" id="{3FC182C1-E3A2-4115-9998-E208430D15FF}"/>
                </a:ext>
              </a:extLst>
            </p:cNvPr>
            <p:cNvSpPr/>
            <p:nvPr/>
          </p:nvSpPr>
          <p:spPr>
            <a:xfrm>
              <a:off x="6402100" y="4661361"/>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ata loaders</a:t>
              </a:r>
            </a:p>
          </p:txBody>
        </p:sp>
        <p:sp>
          <p:nvSpPr>
            <p:cNvPr id="34" name="tool" title="Icon of a skrewdriver and wrench">
              <a:extLst>
                <a:ext uri="{FF2B5EF4-FFF2-40B4-BE49-F238E27FC236}">
                  <a16:creationId xmlns:a16="http://schemas.microsoft.com/office/drawing/2014/main" id="{2776C4A3-D562-4F9F-81E4-A7CED697997D}"/>
                </a:ext>
              </a:extLst>
            </p:cNvPr>
            <p:cNvSpPr>
              <a:spLocks noChangeAspect="1" noEditPoints="1"/>
            </p:cNvSpPr>
            <p:nvPr/>
          </p:nvSpPr>
          <p:spPr bwMode="auto">
            <a:xfrm>
              <a:off x="5837762" y="5966616"/>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0" name="tool" title="Icon of a skrewdriver and wrench">
              <a:extLst>
                <a:ext uri="{FF2B5EF4-FFF2-40B4-BE49-F238E27FC236}">
                  <a16:creationId xmlns:a16="http://schemas.microsoft.com/office/drawing/2014/main" id="{70968844-8F9B-4AFD-9CA9-0CDEC4FE5488}"/>
                </a:ext>
              </a:extLst>
            </p:cNvPr>
            <p:cNvSpPr>
              <a:spLocks noChangeAspect="1" noEditPoints="1"/>
            </p:cNvSpPr>
            <p:nvPr/>
          </p:nvSpPr>
          <p:spPr bwMode="auto">
            <a:xfrm>
              <a:off x="8473816" y="5960757"/>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 name="tool" title="Icon of a skrewdriver and wrench">
              <a:extLst>
                <a:ext uri="{FF2B5EF4-FFF2-40B4-BE49-F238E27FC236}">
                  <a16:creationId xmlns:a16="http://schemas.microsoft.com/office/drawing/2014/main" id="{002EACBB-7314-43E5-A01E-0760C7A7B1E1}"/>
                </a:ext>
              </a:extLst>
            </p:cNvPr>
            <p:cNvSpPr>
              <a:spLocks noChangeAspect="1" noEditPoints="1"/>
            </p:cNvSpPr>
            <p:nvPr/>
          </p:nvSpPr>
          <p:spPr bwMode="auto">
            <a:xfrm>
              <a:off x="3087934" y="5971601"/>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6E9CB19B-42B8-477E-A87B-45522C912487}"/>
                </a:ext>
              </a:extLst>
            </p:cNvPr>
            <p:cNvSpPr/>
            <p:nvPr/>
          </p:nvSpPr>
          <p:spPr>
            <a:xfrm>
              <a:off x="8902307" y="2690605"/>
              <a:ext cx="2509965" cy="3625254"/>
            </a:xfrm>
            <a:prstGeom prst="rect">
              <a:avLst/>
            </a:prstGeom>
            <a:solidFill>
              <a:schemeClr val="bg1"/>
            </a:solidFill>
            <a:ln w="10795" cap="flat" cmpd="sng" algn="ctr">
              <a:solidFill>
                <a:schemeClr val="bg1">
                  <a:lumMod val="85000"/>
                </a:scheme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8" name="Rectangle 47">
              <a:extLst>
                <a:ext uri="{FF2B5EF4-FFF2-40B4-BE49-F238E27FC236}">
                  <a16:creationId xmlns:a16="http://schemas.microsoft.com/office/drawing/2014/main" id="{785511A0-46D6-4D60-B03A-566624DF3338}"/>
                </a:ext>
              </a:extLst>
            </p:cNvPr>
            <p:cNvSpPr/>
            <p:nvPr/>
          </p:nvSpPr>
          <p:spPr bwMode="auto">
            <a:xfrm>
              <a:off x="8932047" y="2692482"/>
              <a:ext cx="2507235" cy="540154"/>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uture Extensions</a:t>
              </a:r>
            </a:p>
          </p:txBody>
        </p:sp>
        <p:pic>
          <p:nvPicPr>
            <p:cNvPr id="49" name="Picture 48">
              <a:extLst>
                <a:ext uri="{FF2B5EF4-FFF2-40B4-BE49-F238E27FC236}">
                  <a16:creationId xmlns:a16="http://schemas.microsoft.com/office/drawing/2014/main" id="{D8051A63-6F11-42EF-861A-101D24CDC637}"/>
                </a:ext>
              </a:extLst>
            </p:cNvPr>
            <p:cNvPicPr>
              <a:picLocks noChangeAspect="1"/>
            </p:cNvPicPr>
            <p:nvPr/>
          </p:nvPicPr>
          <p:blipFill>
            <a:blip r:embed="rId3"/>
            <a:stretch>
              <a:fillRect/>
            </a:stretch>
          </p:blipFill>
          <p:spPr>
            <a:xfrm>
              <a:off x="10300487" y="4785883"/>
              <a:ext cx="836871" cy="721398"/>
            </a:xfrm>
            <a:prstGeom prst="rect">
              <a:avLst/>
            </a:prstGeom>
          </p:spPr>
        </p:pic>
        <p:pic>
          <p:nvPicPr>
            <p:cNvPr id="50" name="Picture 49">
              <a:extLst>
                <a:ext uri="{FF2B5EF4-FFF2-40B4-BE49-F238E27FC236}">
                  <a16:creationId xmlns:a16="http://schemas.microsoft.com/office/drawing/2014/main" id="{58FB76F5-0D84-4DE5-80B2-C86CBFCF715C}"/>
                </a:ext>
              </a:extLst>
            </p:cNvPr>
            <p:cNvPicPr>
              <a:picLocks noChangeAspect="1"/>
            </p:cNvPicPr>
            <p:nvPr/>
          </p:nvPicPr>
          <p:blipFill>
            <a:blip r:embed="rId4"/>
            <a:stretch>
              <a:fillRect/>
            </a:stretch>
          </p:blipFill>
          <p:spPr>
            <a:xfrm>
              <a:off x="9173543" y="4822774"/>
              <a:ext cx="983746" cy="540155"/>
            </a:xfrm>
            <a:prstGeom prst="rect">
              <a:avLst/>
            </a:prstGeom>
          </p:spPr>
        </p:pic>
        <p:sp>
          <p:nvSpPr>
            <p:cNvPr id="52" name="tool" title="Icon of a skrewdriver and wrench">
              <a:extLst>
                <a:ext uri="{FF2B5EF4-FFF2-40B4-BE49-F238E27FC236}">
                  <a16:creationId xmlns:a16="http://schemas.microsoft.com/office/drawing/2014/main" id="{37540E8D-4F2E-4767-8087-5A3DB81676EC}"/>
                </a:ext>
              </a:extLst>
            </p:cNvPr>
            <p:cNvSpPr>
              <a:spLocks noChangeAspect="1" noEditPoints="1"/>
            </p:cNvSpPr>
            <p:nvPr/>
          </p:nvSpPr>
          <p:spPr bwMode="auto">
            <a:xfrm>
              <a:off x="11137358" y="5965642"/>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pic>
          <p:nvPicPr>
            <p:cNvPr id="2050" name="Picture 2" descr="Related image">
              <a:extLst>
                <a:ext uri="{FF2B5EF4-FFF2-40B4-BE49-F238E27FC236}">
                  <a16:creationId xmlns:a16="http://schemas.microsoft.com/office/drawing/2014/main" id="{4358F69A-52FB-447E-81E4-60FFE61C2A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05995" y="3867463"/>
              <a:ext cx="1143924" cy="43803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E37B8432-B258-4324-BEE4-A19546303E1E}"/>
                </a:ext>
              </a:extLst>
            </p:cNvPr>
            <p:cNvGrpSpPr/>
            <p:nvPr/>
          </p:nvGrpSpPr>
          <p:grpSpPr>
            <a:xfrm>
              <a:off x="9147101" y="3746782"/>
              <a:ext cx="889859" cy="756487"/>
              <a:chOff x="8964505" y="4251114"/>
              <a:chExt cx="889859" cy="756487"/>
            </a:xfrm>
          </p:grpSpPr>
          <p:pic>
            <p:nvPicPr>
              <p:cNvPr id="51" name="Picture 50">
                <a:extLst>
                  <a:ext uri="{FF2B5EF4-FFF2-40B4-BE49-F238E27FC236}">
                    <a16:creationId xmlns:a16="http://schemas.microsoft.com/office/drawing/2014/main" id="{9529DFED-D4F5-42C8-8E19-3FE42102433C}"/>
                  </a:ext>
                </a:extLst>
              </p:cNvPr>
              <p:cNvPicPr>
                <a:picLocks noChangeAspect="1"/>
              </p:cNvPicPr>
              <p:nvPr/>
            </p:nvPicPr>
            <p:blipFill>
              <a:blip r:embed="rId6"/>
              <a:stretch>
                <a:fillRect/>
              </a:stretch>
            </p:blipFill>
            <p:spPr>
              <a:xfrm>
                <a:off x="9082936" y="4251114"/>
                <a:ext cx="572842" cy="567350"/>
              </a:xfrm>
              <a:prstGeom prst="rect">
                <a:avLst/>
              </a:prstGeom>
            </p:spPr>
          </p:pic>
          <p:sp>
            <p:nvSpPr>
              <p:cNvPr id="14" name="Rectangle 13">
                <a:extLst>
                  <a:ext uri="{FF2B5EF4-FFF2-40B4-BE49-F238E27FC236}">
                    <a16:creationId xmlns:a16="http://schemas.microsoft.com/office/drawing/2014/main" id="{7B78B7FB-40C7-419D-8ECD-16EF6D0F7124}"/>
                  </a:ext>
                </a:extLst>
              </p:cNvPr>
              <p:cNvSpPr/>
              <p:nvPr/>
            </p:nvSpPr>
            <p:spPr>
              <a:xfrm>
                <a:off x="8964505" y="4730602"/>
                <a:ext cx="889859" cy="276999"/>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nsorFlow</a:t>
                </a:r>
              </a:p>
            </p:txBody>
          </p:sp>
        </p:grpSp>
      </p:grpSp>
      <p:sp>
        <p:nvSpPr>
          <p:cNvPr id="2" name="Rectangle 1">
            <a:extLst>
              <a:ext uri="{FF2B5EF4-FFF2-40B4-BE49-F238E27FC236}">
                <a16:creationId xmlns:a16="http://schemas.microsoft.com/office/drawing/2014/main" id="{87653366-6FF6-4B27-824A-9345728347D7}"/>
              </a:ext>
            </a:extLst>
          </p:cNvPr>
          <p:cNvSpPr/>
          <p:nvPr/>
        </p:nvSpPr>
        <p:spPr>
          <a:xfrm>
            <a:off x="4607562" y="1672803"/>
            <a:ext cx="3995444" cy="707886"/>
          </a:xfrm>
          <a:prstGeom prst="rect">
            <a:avLst/>
          </a:prstGeom>
        </p:spPr>
        <p:txBody>
          <a:bodyPr wrap="square">
            <a:spAutoFit/>
          </a:bodyPr>
          <a:lstStyle/>
          <a:p>
            <a:pPr marL="342900" marR="0" lvl="0" indent="-342900" algn="l" defTabSz="685800" rtl="0" eaLnBrk="1" fontAlgn="auto" latinLnBrk="0" hangingPunct="1">
              <a:lnSpc>
                <a:spcPct val="100000"/>
              </a:lnSpc>
              <a:spcBef>
                <a:spcPts val="0"/>
              </a:spcBef>
              <a:spcAft>
                <a:spcPts val="0"/>
              </a:spcAft>
              <a:buClrTx/>
              <a:buSzTx/>
              <a:buFontTx/>
              <a:buChar char="-"/>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uild &amp; Train </a:t>
            </a: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ML.NET models</a:t>
            </a:r>
          </a:p>
          <a:p>
            <a:pPr marL="342900" marR="0" lvl="0" indent="-342900" algn="l" defTabSz="685800" rtl="0" eaLnBrk="1" fontAlgn="auto" latinLnBrk="0" hangingPunct="1">
              <a:lnSpc>
                <a:spcPct val="100000"/>
              </a:lnSpc>
              <a:spcBef>
                <a:spcPts val="0"/>
              </a:spcBef>
              <a:spcAft>
                <a:spcPts val="0"/>
              </a:spcAft>
              <a:buClrTx/>
              <a:buSzTx/>
              <a:buFontTx/>
              <a:buChar char="-"/>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Run </a:t>
            </a: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any model</a:t>
            </a:r>
          </a:p>
        </p:txBody>
      </p:sp>
      <p:grpSp>
        <p:nvGrpSpPr>
          <p:cNvPr id="38" name="Group 37">
            <a:extLst>
              <a:ext uri="{FF2B5EF4-FFF2-40B4-BE49-F238E27FC236}">
                <a16:creationId xmlns:a16="http://schemas.microsoft.com/office/drawing/2014/main" id="{521E4572-EE30-47B7-84BC-34D8288F80CF}"/>
              </a:ext>
            </a:extLst>
          </p:cNvPr>
          <p:cNvGrpSpPr/>
          <p:nvPr/>
        </p:nvGrpSpPr>
        <p:grpSpPr>
          <a:xfrm>
            <a:off x="1033427" y="1336316"/>
            <a:ext cx="1591907" cy="914509"/>
            <a:chOff x="5645444" y="5800539"/>
            <a:chExt cx="1591907" cy="914509"/>
          </a:xfrm>
        </p:grpSpPr>
        <p:pic>
          <p:nvPicPr>
            <p:cNvPr id="42" name="Picture 2" descr="Image result for nuget logo">
              <a:extLst>
                <a:ext uri="{FF2B5EF4-FFF2-40B4-BE49-F238E27FC236}">
                  <a16:creationId xmlns:a16="http://schemas.microsoft.com/office/drawing/2014/main" id="{691E3FAD-F405-4E85-9D44-79ECF12ECE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5444" y="5800539"/>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997FA0C5-FE35-424D-9BC2-644C30E56817}"/>
                </a:ext>
              </a:extLst>
            </p:cNvPr>
            <p:cNvSpPr/>
            <p:nvPr/>
          </p:nvSpPr>
          <p:spPr>
            <a:xfrm>
              <a:off x="6425910" y="6070376"/>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uget</a:t>
              </a:r>
            </a:p>
          </p:txBody>
        </p:sp>
      </p:grpSp>
      <p:sp>
        <p:nvSpPr>
          <p:cNvPr id="3" name="Rectangle 2">
            <a:extLst>
              <a:ext uri="{FF2B5EF4-FFF2-40B4-BE49-F238E27FC236}">
                <a16:creationId xmlns:a16="http://schemas.microsoft.com/office/drawing/2014/main" id="{44E6C6D8-C123-44CB-9149-0D9C3C973FD0}"/>
              </a:ext>
            </a:extLst>
          </p:cNvPr>
          <p:cNvSpPr/>
          <p:nvPr/>
        </p:nvSpPr>
        <p:spPr>
          <a:xfrm>
            <a:off x="9434671" y="1409569"/>
            <a:ext cx="2025044" cy="90717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Standar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NET C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NET Framework</a:t>
            </a:r>
          </a:p>
        </p:txBody>
      </p:sp>
      <p:sp>
        <p:nvSpPr>
          <p:cNvPr id="44" name="Rectangle 43">
            <a:extLst>
              <a:ext uri="{FF2B5EF4-FFF2-40B4-BE49-F238E27FC236}">
                <a16:creationId xmlns:a16="http://schemas.microsoft.com/office/drawing/2014/main" id="{DF658AED-96F7-4057-AD9E-5EBD9C2A9CCD}"/>
              </a:ext>
            </a:extLst>
          </p:cNvPr>
          <p:cNvSpPr/>
          <p:nvPr/>
        </p:nvSpPr>
        <p:spPr bwMode="auto">
          <a:xfrm>
            <a:off x="9122396" y="3681404"/>
            <a:ext cx="876133" cy="821866"/>
          </a:xfrm>
          <a:prstGeom prst="rect">
            <a:avLst/>
          </a:prstGeom>
          <a:noFill/>
          <a:ln w="2540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Speech Bubble: Rectangle with Corners Rounded 44">
            <a:extLst>
              <a:ext uri="{FF2B5EF4-FFF2-40B4-BE49-F238E27FC236}">
                <a16:creationId xmlns:a16="http://schemas.microsoft.com/office/drawing/2014/main" id="{621A2E13-EC9B-4BDC-93B8-1A177DC5DA9C}"/>
              </a:ext>
            </a:extLst>
          </p:cNvPr>
          <p:cNvSpPr/>
          <p:nvPr/>
        </p:nvSpPr>
        <p:spPr bwMode="auto">
          <a:xfrm>
            <a:off x="8830476" y="2404541"/>
            <a:ext cx="2495408" cy="1083601"/>
          </a:xfrm>
          <a:prstGeom prst="wedgeRoundRectCallout">
            <a:avLst>
              <a:gd name="adj1" fmla="val -20567"/>
              <a:gd name="adj2" fmla="val 66344"/>
              <a:gd name="adj3" fmla="val 1666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4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reliminary support of TensorFlow scoring in ML.NET is available since v0.5</a:t>
            </a:r>
          </a:p>
        </p:txBody>
      </p:sp>
    </p:spTree>
    <p:extLst>
      <p:ext uri="{BB962C8B-B14F-4D97-AF65-F5344CB8AC3E}">
        <p14:creationId xmlns:p14="http://schemas.microsoft.com/office/powerpoint/2010/main" val="3458069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1000"/>
                                        <p:tgtEl>
                                          <p:spTgt spid="44"/>
                                        </p:tgtEl>
                                      </p:cBhvr>
                                    </p:animEffect>
                                    <p:anim calcmode="lin" valueType="num">
                                      <p:cBhvr>
                                        <p:cTn id="24" dur="1000" fill="hold"/>
                                        <p:tgtEl>
                                          <p:spTgt spid="44"/>
                                        </p:tgtEl>
                                        <p:attrNameLst>
                                          <p:attrName>ppt_x</p:attrName>
                                        </p:attrNameLst>
                                      </p:cBhvr>
                                      <p:tavLst>
                                        <p:tav tm="0">
                                          <p:val>
                                            <p:strVal val="#ppt_x"/>
                                          </p:val>
                                        </p:tav>
                                        <p:tav tm="100000">
                                          <p:val>
                                            <p:strVal val="#ppt_x"/>
                                          </p:val>
                                        </p:tav>
                                      </p:tavLst>
                                    </p:anim>
                                    <p:anim calcmode="lin" valueType="num">
                                      <p:cBhvr>
                                        <p:cTn id="25" dur="1000" fill="hold"/>
                                        <p:tgtEl>
                                          <p:spTgt spid="44"/>
                                        </p:tgtEl>
                                        <p:attrNameLst>
                                          <p:attrName>ppt_y</p:attrName>
                                        </p:attrNameLst>
                                      </p:cBhvr>
                                      <p:tavLst>
                                        <p:tav tm="0">
                                          <p:val>
                                            <p:strVal val="#ppt_y+.1"/>
                                          </p:val>
                                        </p:tav>
                                        <p:tav tm="100000">
                                          <p:val>
                                            <p:strVal val="#ppt_y"/>
                                          </p:val>
                                        </p:tav>
                                      </p:tavLst>
                                    </p:anim>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fade">
                                      <p:cBhvr>
                                        <p:cTn id="29"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 grpId="0"/>
      <p:bldP spid="44" grpId="0" animBg="1"/>
      <p:bldP spid="4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5847A68-5B3E-4176-B232-6B894197EF5C}"/>
              </a:ext>
            </a:extLst>
          </p:cNvPr>
          <p:cNvSpPr txBox="1">
            <a:spLocks/>
          </p:cNvSpPr>
          <p:nvPr/>
        </p:nvSpPr>
        <p:spPr>
          <a:xfrm>
            <a:off x="369271" y="216038"/>
            <a:ext cx="10515600" cy="822960"/>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j-ea"/>
                <a:cs typeface="Segoe UI" pitchFamily="34" charset="0"/>
              </a:rPr>
              <a:t>ML.NET: Proven at large scale in Microsoft</a:t>
            </a:r>
          </a:p>
        </p:txBody>
      </p:sp>
      <p:sp>
        <p:nvSpPr>
          <p:cNvPr id="5" name="Pentagon 19">
            <a:extLst>
              <a:ext uri="{FF2B5EF4-FFF2-40B4-BE49-F238E27FC236}">
                <a16:creationId xmlns:a16="http://schemas.microsoft.com/office/drawing/2014/main" id="{7D117068-35BA-4529-AA75-E1BCCE6D2B4B}"/>
              </a:ext>
            </a:extLst>
          </p:cNvPr>
          <p:cNvSpPr/>
          <p:nvPr/>
        </p:nvSpPr>
        <p:spPr bwMode="auto">
          <a:xfrm>
            <a:off x="756971" y="1207523"/>
            <a:ext cx="8862418"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9" name="Oval 8">
            <a:extLst>
              <a:ext uri="{FF2B5EF4-FFF2-40B4-BE49-F238E27FC236}">
                <a16:creationId xmlns:a16="http://schemas.microsoft.com/office/drawing/2014/main" id="{DB37366A-6653-437E-B730-C24C10C4BFC4}"/>
              </a:ext>
            </a:extLst>
          </p:cNvPr>
          <p:cNvSpPr/>
          <p:nvPr/>
        </p:nvSpPr>
        <p:spPr bwMode="auto">
          <a:xfrm>
            <a:off x="868173" y="1176655"/>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Pentagon 19">
            <a:extLst>
              <a:ext uri="{FF2B5EF4-FFF2-40B4-BE49-F238E27FC236}">
                <a16:creationId xmlns:a16="http://schemas.microsoft.com/office/drawing/2014/main" id="{1B3D94A6-686B-474B-8F5D-412AD6235441}"/>
              </a:ext>
            </a:extLst>
          </p:cNvPr>
          <p:cNvSpPr/>
          <p:nvPr/>
        </p:nvSpPr>
        <p:spPr bwMode="auto">
          <a:xfrm>
            <a:off x="756970" y="2546612"/>
            <a:ext cx="8862419"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17" name="Oval 16">
            <a:extLst>
              <a:ext uri="{FF2B5EF4-FFF2-40B4-BE49-F238E27FC236}">
                <a16:creationId xmlns:a16="http://schemas.microsoft.com/office/drawing/2014/main" id="{EC2C5976-6526-4984-B286-9D7553C7F260}"/>
              </a:ext>
            </a:extLst>
          </p:cNvPr>
          <p:cNvSpPr/>
          <p:nvPr/>
        </p:nvSpPr>
        <p:spPr bwMode="auto">
          <a:xfrm>
            <a:off x="857287" y="2515744"/>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7" name="Pentagon 19">
            <a:extLst>
              <a:ext uri="{FF2B5EF4-FFF2-40B4-BE49-F238E27FC236}">
                <a16:creationId xmlns:a16="http://schemas.microsoft.com/office/drawing/2014/main" id="{8F5F7B72-0A95-4F3B-98D3-A6C2798CC072}"/>
              </a:ext>
            </a:extLst>
          </p:cNvPr>
          <p:cNvSpPr/>
          <p:nvPr/>
        </p:nvSpPr>
        <p:spPr bwMode="auto">
          <a:xfrm>
            <a:off x="756971" y="3885701"/>
            <a:ext cx="8862419"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29" name="Oval 28">
            <a:extLst>
              <a:ext uri="{FF2B5EF4-FFF2-40B4-BE49-F238E27FC236}">
                <a16:creationId xmlns:a16="http://schemas.microsoft.com/office/drawing/2014/main" id="{00CCC861-1BC9-4035-A2D0-D1FD411D97E7}"/>
              </a:ext>
            </a:extLst>
          </p:cNvPr>
          <p:cNvSpPr/>
          <p:nvPr/>
        </p:nvSpPr>
        <p:spPr bwMode="auto">
          <a:xfrm>
            <a:off x="835515" y="3854833"/>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Pentagon 19">
            <a:extLst>
              <a:ext uri="{FF2B5EF4-FFF2-40B4-BE49-F238E27FC236}">
                <a16:creationId xmlns:a16="http://schemas.microsoft.com/office/drawing/2014/main" id="{7AA8B0B8-0746-4517-9DB6-D90AD974202A}"/>
              </a:ext>
            </a:extLst>
          </p:cNvPr>
          <p:cNvSpPr/>
          <p:nvPr/>
        </p:nvSpPr>
        <p:spPr bwMode="auto">
          <a:xfrm>
            <a:off x="756970" y="5224790"/>
            <a:ext cx="8778915"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32" name="Oval 31">
            <a:extLst>
              <a:ext uri="{FF2B5EF4-FFF2-40B4-BE49-F238E27FC236}">
                <a16:creationId xmlns:a16="http://schemas.microsoft.com/office/drawing/2014/main" id="{F78F8E94-3745-4534-85BF-B3A9C08E9D55}"/>
              </a:ext>
            </a:extLst>
          </p:cNvPr>
          <p:cNvSpPr/>
          <p:nvPr/>
        </p:nvSpPr>
        <p:spPr bwMode="auto">
          <a:xfrm>
            <a:off x="857287" y="5193922"/>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3164A0C4-5D35-4041-84B3-2599F1E3DF83}"/>
              </a:ext>
            </a:extLst>
          </p:cNvPr>
          <p:cNvSpPr/>
          <p:nvPr/>
        </p:nvSpPr>
        <p:spPr>
          <a:xfrm>
            <a:off x="10279681" y="6001894"/>
            <a:ext cx="1683089"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more!</a:t>
            </a:r>
          </a:p>
        </p:txBody>
      </p:sp>
      <p:pic>
        <p:nvPicPr>
          <p:cNvPr id="2050" name="Picture 2" descr="Image result for excel icon">
            <a:extLst>
              <a:ext uri="{FF2B5EF4-FFF2-40B4-BE49-F238E27FC236}">
                <a16:creationId xmlns:a16="http://schemas.microsoft.com/office/drawing/2014/main" id="{4CA5DE00-333A-49A3-B1D0-3AFB6B664B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595" t="9148" r="14308" b="21864"/>
          <a:stretch/>
        </p:blipFill>
        <p:spPr bwMode="auto">
          <a:xfrm>
            <a:off x="1102957" y="2772768"/>
            <a:ext cx="771338" cy="74845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powerpoint icon">
            <a:extLst>
              <a:ext uri="{FF2B5EF4-FFF2-40B4-BE49-F238E27FC236}">
                <a16:creationId xmlns:a16="http://schemas.microsoft.com/office/drawing/2014/main" id="{FF11C18E-2EEB-4D00-BB36-92198CAA65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1185" y="4107344"/>
            <a:ext cx="771338" cy="75748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bing icon">
            <a:extLst>
              <a:ext uri="{FF2B5EF4-FFF2-40B4-BE49-F238E27FC236}">
                <a16:creationId xmlns:a16="http://schemas.microsoft.com/office/drawing/2014/main" id="{230A820F-0828-4C12-B1DF-BA24FCA2FC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7758" y="1383864"/>
            <a:ext cx="800302" cy="80030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Windows icon">
            <a:extLst>
              <a:ext uri="{FF2B5EF4-FFF2-40B4-BE49-F238E27FC236}">
                <a16:creationId xmlns:a16="http://schemas.microsoft.com/office/drawing/2014/main" id="{BC5543AD-3A37-453F-894F-78E0F18272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2957" y="5474136"/>
            <a:ext cx="727423" cy="72985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895B5AFA-11C7-4195-AE61-8999DC54A0CE}"/>
              </a:ext>
            </a:extLst>
          </p:cNvPr>
          <p:cNvPicPr>
            <a:picLocks noChangeAspect="1"/>
          </p:cNvPicPr>
          <p:nvPr/>
        </p:nvPicPr>
        <p:blipFill>
          <a:blip r:embed="rId7"/>
          <a:stretch>
            <a:fillRect/>
          </a:stretch>
        </p:blipFill>
        <p:spPr>
          <a:xfrm>
            <a:off x="4905067" y="5466779"/>
            <a:ext cx="2734734" cy="693072"/>
          </a:xfrm>
          <a:prstGeom prst="rect">
            <a:avLst/>
          </a:prstGeom>
        </p:spPr>
      </p:pic>
      <p:sp>
        <p:nvSpPr>
          <p:cNvPr id="34" name="Rectangle 33">
            <a:extLst>
              <a:ext uri="{FF2B5EF4-FFF2-40B4-BE49-F238E27FC236}">
                <a16:creationId xmlns:a16="http://schemas.microsoft.com/office/drawing/2014/main" id="{9B933E2E-8CEA-416C-A131-9FF04869187C}"/>
              </a:ext>
            </a:extLst>
          </p:cNvPr>
          <p:cNvSpPr/>
          <p:nvPr/>
        </p:nvSpPr>
        <p:spPr>
          <a:xfrm>
            <a:off x="2247645" y="5492528"/>
            <a:ext cx="241123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Windows 10</a:t>
            </a:r>
          </a:p>
        </p:txBody>
      </p:sp>
      <p:sp>
        <p:nvSpPr>
          <p:cNvPr id="40" name="Rectangle 39">
            <a:extLst>
              <a:ext uri="{FF2B5EF4-FFF2-40B4-BE49-F238E27FC236}">
                <a16:creationId xmlns:a16="http://schemas.microsoft.com/office/drawing/2014/main" id="{34645A42-50A2-431D-BFFC-579586014A7A}"/>
              </a:ext>
            </a:extLst>
          </p:cNvPr>
          <p:cNvSpPr/>
          <p:nvPr/>
        </p:nvSpPr>
        <p:spPr>
          <a:xfrm>
            <a:off x="2196519" y="4153587"/>
            <a:ext cx="298457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Power Point</a:t>
            </a:r>
          </a:p>
        </p:txBody>
      </p:sp>
      <p:sp>
        <p:nvSpPr>
          <p:cNvPr id="41" name="Rectangle 40">
            <a:extLst>
              <a:ext uri="{FF2B5EF4-FFF2-40B4-BE49-F238E27FC236}">
                <a16:creationId xmlns:a16="http://schemas.microsoft.com/office/drawing/2014/main" id="{9E4250DC-99DC-4C10-BE9B-C41C99953A50}"/>
              </a:ext>
            </a:extLst>
          </p:cNvPr>
          <p:cNvSpPr/>
          <p:nvPr/>
        </p:nvSpPr>
        <p:spPr>
          <a:xfrm>
            <a:off x="2239121" y="2785217"/>
            <a:ext cx="111581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xcel</a:t>
            </a:r>
          </a:p>
        </p:txBody>
      </p:sp>
      <p:sp>
        <p:nvSpPr>
          <p:cNvPr id="42" name="Rectangle 41">
            <a:extLst>
              <a:ext uri="{FF2B5EF4-FFF2-40B4-BE49-F238E27FC236}">
                <a16:creationId xmlns:a16="http://schemas.microsoft.com/office/drawing/2014/main" id="{412195E0-104C-4375-B47E-0200CC264641}"/>
              </a:ext>
            </a:extLst>
          </p:cNvPr>
          <p:cNvSpPr/>
          <p:nvPr/>
        </p:nvSpPr>
        <p:spPr>
          <a:xfrm>
            <a:off x="2247645" y="1479050"/>
            <a:ext cx="1784463"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ing</a:t>
            </a:r>
            <a:r>
              <a:rPr kumimoji="0" lang="en-US" sz="3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r>
              <a:rPr kumimoji="0" lang="en-US" sz="3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ds</a:t>
            </a:r>
          </a:p>
        </p:txBody>
      </p:sp>
      <p:pic>
        <p:nvPicPr>
          <p:cNvPr id="43" name="Picture 42">
            <a:extLst>
              <a:ext uri="{FF2B5EF4-FFF2-40B4-BE49-F238E27FC236}">
                <a16:creationId xmlns:a16="http://schemas.microsoft.com/office/drawing/2014/main" id="{6F0735BA-ECB0-4B70-97ED-6AADC23EA892}"/>
              </a:ext>
            </a:extLst>
          </p:cNvPr>
          <p:cNvPicPr>
            <a:picLocks noChangeAspect="1"/>
          </p:cNvPicPr>
          <p:nvPr/>
        </p:nvPicPr>
        <p:blipFill>
          <a:blip r:embed="rId8"/>
          <a:stretch>
            <a:fillRect/>
          </a:stretch>
        </p:blipFill>
        <p:spPr>
          <a:xfrm>
            <a:off x="4934066" y="2816332"/>
            <a:ext cx="3959259" cy="663720"/>
          </a:xfrm>
          <a:prstGeom prst="rect">
            <a:avLst/>
          </a:prstGeom>
        </p:spPr>
      </p:pic>
      <p:pic>
        <p:nvPicPr>
          <p:cNvPr id="3" name="Picture 2">
            <a:extLst>
              <a:ext uri="{FF2B5EF4-FFF2-40B4-BE49-F238E27FC236}">
                <a16:creationId xmlns:a16="http://schemas.microsoft.com/office/drawing/2014/main" id="{03450979-0EBA-4FCB-9C59-4A799C349C4A}"/>
              </a:ext>
            </a:extLst>
          </p:cNvPr>
          <p:cNvPicPr>
            <a:picLocks noChangeAspect="1"/>
          </p:cNvPicPr>
          <p:nvPr/>
        </p:nvPicPr>
        <p:blipFill>
          <a:blip r:embed="rId9"/>
          <a:stretch>
            <a:fillRect/>
          </a:stretch>
        </p:blipFill>
        <p:spPr>
          <a:xfrm>
            <a:off x="4934066" y="4094412"/>
            <a:ext cx="4211514" cy="753154"/>
          </a:xfrm>
          <a:prstGeom prst="rect">
            <a:avLst/>
          </a:prstGeom>
        </p:spPr>
      </p:pic>
      <p:pic>
        <p:nvPicPr>
          <p:cNvPr id="2" name="Picture 1">
            <a:extLst>
              <a:ext uri="{FF2B5EF4-FFF2-40B4-BE49-F238E27FC236}">
                <a16:creationId xmlns:a16="http://schemas.microsoft.com/office/drawing/2014/main" id="{90DF36D4-733D-4A87-94C1-DB333D08C9DE}"/>
              </a:ext>
            </a:extLst>
          </p:cNvPr>
          <p:cNvPicPr>
            <a:picLocks noChangeAspect="1"/>
          </p:cNvPicPr>
          <p:nvPr/>
        </p:nvPicPr>
        <p:blipFill>
          <a:blip r:embed="rId10"/>
          <a:stretch>
            <a:fillRect/>
          </a:stretch>
        </p:blipFill>
        <p:spPr>
          <a:xfrm>
            <a:off x="4910747" y="1439350"/>
            <a:ext cx="2909328" cy="759150"/>
          </a:xfrm>
          <a:prstGeom prst="rect">
            <a:avLst/>
          </a:prstGeom>
        </p:spPr>
      </p:pic>
    </p:spTree>
    <p:extLst>
      <p:ext uri="{BB962C8B-B14F-4D97-AF65-F5344CB8AC3E}">
        <p14:creationId xmlns:p14="http://schemas.microsoft.com/office/powerpoint/2010/main" val="11838953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4289" y="1481608"/>
            <a:ext cx="8982004" cy="1661993"/>
          </a:xfrm>
        </p:spPr>
        <p:txBody>
          <a:bodyPr/>
          <a:lstStyle/>
          <a:p>
            <a:r>
              <a:rPr lang="en-US" i="1" dirty="0">
                <a:latin typeface="Segoe UI Light" panose="020B0502040204020203" pitchFamily="34" charset="0"/>
                <a:cs typeface="Segoe UI Light" panose="020B0502040204020203" pitchFamily="34" charset="0"/>
              </a:rPr>
              <a:t>Democratize Machine Learning custom models </a:t>
            </a:r>
            <a:br>
              <a:rPr lang="en-US" i="1" dirty="0">
                <a:latin typeface="Segoe UI Light" panose="020B0502040204020203" pitchFamily="34" charset="0"/>
                <a:cs typeface="Segoe UI Light" panose="020B0502040204020203" pitchFamily="34" charset="0"/>
              </a:rPr>
            </a:br>
            <a:r>
              <a:rPr lang="en-US" i="1" dirty="0">
                <a:latin typeface="Segoe UI Light" panose="020B0502040204020203" pitchFamily="34" charset="0"/>
                <a:cs typeface="Segoe UI Light" panose="020B0502040204020203" pitchFamily="34" charset="0"/>
              </a:rPr>
              <a:t>for </a:t>
            </a:r>
            <a:r>
              <a:rPr lang="en-US" b="1" i="1" dirty="0">
                <a:latin typeface="+mn-lt"/>
                <a:cs typeface="Segoe UI Light" panose="020B0502040204020203" pitchFamily="34" charset="0"/>
              </a:rPr>
              <a:t>.NET developers </a:t>
            </a:r>
            <a:r>
              <a:rPr lang="en-US" i="1" dirty="0">
                <a:latin typeface="Segoe UI Light" panose="020B0502040204020203" pitchFamily="34" charset="0"/>
                <a:cs typeface="Segoe UI Light" panose="020B0502040204020203" pitchFamily="34" charset="0"/>
              </a:rPr>
              <a:t>with a framework and tools especially tailored for developers</a:t>
            </a:r>
          </a:p>
        </p:txBody>
      </p:sp>
      <p:sp>
        <p:nvSpPr>
          <p:cNvPr id="4" name="Title 1">
            <a:extLst>
              <a:ext uri="{FF2B5EF4-FFF2-40B4-BE49-F238E27FC236}">
                <a16:creationId xmlns:a16="http://schemas.microsoft.com/office/drawing/2014/main" id="{26F09B1D-3178-4CDB-846E-47B259ED5BD7}"/>
              </a:ext>
            </a:extLst>
          </p:cNvPr>
          <p:cNvSpPr txBox="1">
            <a:spLocks/>
          </p:cNvSpPr>
          <p:nvPr/>
        </p:nvSpPr>
        <p:spPr>
          <a:xfrm>
            <a:off x="360119" y="337276"/>
            <a:ext cx="10973637" cy="997196"/>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72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The Goal for ML.NET ?</a:t>
            </a:r>
          </a:p>
        </p:txBody>
      </p:sp>
      <p:pic>
        <p:nvPicPr>
          <p:cNvPr id="2050" name="Picture 2" descr="Image result for complex Machine Learning math algorithms">
            <a:extLst>
              <a:ext uri="{FF2B5EF4-FFF2-40B4-BE49-F238E27FC236}">
                <a16:creationId xmlns:a16="http://schemas.microsoft.com/office/drawing/2014/main" id="{AC77E13F-1854-4EA1-BDB2-72FBC22A44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8230"/>
          <a:stretch/>
        </p:blipFill>
        <p:spPr bwMode="auto">
          <a:xfrm>
            <a:off x="874826" y="4315810"/>
            <a:ext cx="4227496" cy="950604"/>
          </a:xfrm>
          <a:prstGeom prst="rect">
            <a:avLst/>
          </a:prstGeom>
          <a:noFill/>
          <a:extLst>
            <a:ext uri="{909E8E84-426E-40DD-AFC4-6F175D3DCCD1}">
              <a14:hiddenFill xmlns:a14="http://schemas.microsoft.com/office/drawing/2010/main">
                <a:solidFill>
                  <a:srgbClr val="FFFFFF"/>
                </a:solidFill>
              </a14:hiddenFill>
            </a:ext>
          </a:extLst>
        </p:spPr>
      </p:pic>
      <p:sp>
        <p:nvSpPr>
          <p:cNvPr id="5" name="Arrow: Right 4">
            <a:extLst>
              <a:ext uri="{FF2B5EF4-FFF2-40B4-BE49-F238E27FC236}">
                <a16:creationId xmlns:a16="http://schemas.microsoft.com/office/drawing/2014/main" id="{62C39559-7F80-473D-908E-051B3A8C3226}"/>
              </a:ext>
            </a:extLst>
          </p:cNvPr>
          <p:cNvSpPr/>
          <p:nvPr/>
        </p:nvSpPr>
        <p:spPr bwMode="auto">
          <a:xfrm>
            <a:off x="5418782" y="4503400"/>
            <a:ext cx="693019" cy="59195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308EA93B-ACA2-464F-A050-FCBCB25CCBC4}"/>
              </a:ext>
            </a:extLst>
          </p:cNvPr>
          <p:cNvPicPr>
            <a:picLocks noChangeAspect="1"/>
          </p:cNvPicPr>
          <p:nvPr/>
        </p:nvPicPr>
        <p:blipFill>
          <a:blip r:embed="rId4"/>
          <a:stretch>
            <a:fillRect/>
          </a:stretch>
        </p:blipFill>
        <p:spPr>
          <a:xfrm>
            <a:off x="6724066" y="4902300"/>
            <a:ext cx="2495929" cy="1540042"/>
          </a:xfrm>
          <a:prstGeom prst="rect">
            <a:avLst/>
          </a:prstGeom>
        </p:spPr>
      </p:pic>
      <p:pic>
        <p:nvPicPr>
          <p:cNvPr id="6" name="Picture 5">
            <a:extLst>
              <a:ext uri="{FF2B5EF4-FFF2-40B4-BE49-F238E27FC236}">
                <a16:creationId xmlns:a16="http://schemas.microsoft.com/office/drawing/2014/main" id="{2B93D508-42C2-4BD9-BEA4-F3045E084D9F}"/>
              </a:ext>
            </a:extLst>
          </p:cNvPr>
          <p:cNvPicPr>
            <a:picLocks noChangeAspect="1"/>
          </p:cNvPicPr>
          <p:nvPr/>
        </p:nvPicPr>
        <p:blipFill>
          <a:blip r:embed="rId5"/>
          <a:stretch>
            <a:fillRect/>
          </a:stretch>
        </p:blipFill>
        <p:spPr>
          <a:xfrm>
            <a:off x="6724066" y="3377137"/>
            <a:ext cx="2511699" cy="1329595"/>
          </a:xfrm>
          <a:prstGeom prst="rect">
            <a:avLst/>
          </a:prstGeom>
        </p:spPr>
      </p:pic>
      <p:sp>
        <p:nvSpPr>
          <p:cNvPr id="8" name="Rectangle 7">
            <a:extLst>
              <a:ext uri="{FF2B5EF4-FFF2-40B4-BE49-F238E27FC236}">
                <a16:creationId xmlns:a16="http://schemas.microsoft.com/office/drawing/2014/main" id="{1FA57648-A3BD-4DCB-8ABD-C39ECDFE75A9}"/>
              </a:ext>
            </a:extLst>
          </p:cNvPr>
          <p:cNvSpPr/>
          <p:nvPr/>
        </p:nvSpPr>
        <p:spPr>
          <a:xfrm>
            <a:off x="9661167" y="5162263"/>
            <a:ext cx="2310179" cy="112261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UI tool,</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easy to get started for .NET develop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5757"/>
                </a:solidFill>
                <a:effectLst/>
                <a:uLnTx/>
                <a:uFillTx/>
                <a:latin typeface="Segoe UI"/>
                <a:ea typeface="+mn-ea"/>
                <a:cs typeface="+mn-cs"/>
              </a:rPr>
              <a:t>(*) To be released</a:t>
            </a:r>
          </a:p>
        </p:txBody>
      </p:sp>
      <p:sp>
        <p:nvSpPr>
          <p:cNvPr id="10" name="Rectangle 9">
            <a:extLst>
              <a:ext uri="{FF2B5EF4-FFF2-40B4-BE49-F238E27FC236}">
                <a16:creationId xmlns:a16="http://schemas.microsoft.com/office/drawing/2014/main" id="{54C875EE-C479-4B95-8741-4D89888F3F6F}"/>
              </a:ext>
            </a:extLst>
          </p:cNvPr>
          <p:cNvSpPr/>
          <p:nvPr/>
        </p:nvSpPr>
        <p:spPr>
          <a:xfrm>
            <a:off x="9661168" y="3586945"/>
            <a:ext cx="1942122" cy="117878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NET code-first approach to build &amp; train custom models</a:t>
            </a:r>
          </a:p>
        </p:txBody>
      </p:sp>
      <p:pic>
        <p:nvPicPr>
          <p:cNvPr id="2052" name="Picture 4" descr="Image result for visual studio logo">
            <a:extLst>
              <a:ext uri="{FF2B5EF4-FFF2-40B4-BE49-F238E27FC236}">
                <a16:creationId xmlns:a16="http://schemas.microsoft.com/office/drawing/2014/main" id="{5A23A75D-E1AA-4C5B-AD0B-E7347804382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24064" y="3377137"/>
            <a:ext cx="358719" cy="37091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3C3E5C3D-15D0-46F7-BEA4-631D3A04657A}"/>
              </a:ext>
            </a:extLst>
          </p:cNvPr>
          <p:cNvSpPr/>
          <p:nvPr/>
        </p:nvSpPr>
        <p:spPr bwMode="auto">
          <a:xfrm>
            <a:off x="743804" y="4134580"/>
            <a:ext cx="4227496" cy="1329595"/>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9164F67D-11DA-4F07-BA0B-E1516BB2D75C}"/>
              </a:ext>
            </a:extLst>
          </p:cNvPr>
          <p:cNvSpPr/>
          <p:nvPr/>
        </p:nvSpPr>
        <p:spPr bwMode="auto">
          <a:xfrm>
            <a:off x="6571396" y="3305964"/>
            <a:ext cx="2803997" cy="1457105"/>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92DAFECE-FC88-4A93-B853-7342AD14A3E6}"/>
              </a:ext>
            </a:extLst>
          </p:cNvPr>
          <p:cNvSpPr/>
          <p:nvPr/>
        </p:nvSpPr>
        <p:spPr bwMode="auto">
          <a:xfrm>
            <a:off x="6570031" y="4845963"/>
            <a:ext cx="2803997" cy="1711786"/>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50879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2050"/>
                                        </p:tgtEl>
                                        <p:attrNameLst>
                                          <p:attrName>style.visibility</p:attrName>
                                        </p:attrNameLst>
                                      </p:cBhvr>
                                      <p:to>
                                        <p:strVal val="visible"/>
                                      </p:to>
                                    </p:set>
                                    <p:animEffect transition="in" filter="fade">
                                      <p:cBhvr>
                                        <p:cTn id="10" dur="500"/>
                                        <p:tgtEl>
                                          <p:spTgt spid="20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2052"/>
                                        </p:tgtEl>
                                        <p:attrNameLst>
                                          <p:attrName>style.visibility</p:attrName>
                                        </p:attrNameLst>
                                      </p:cBhvr>
                                      <p:to>
                                        <p:strVal val="visible"/>
                                      </p:to>
                                    </p:set>
                                    <p:animEffect transition="in" filter="fade">
                                      <p:cBhvr>
                                        <p:cTn id="28" dur="500"/>
                                        <p:tgtEl>
                                          <p:spTgt spid="20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8" grpId="0"/>
      <p:bldP spid="10" grpId="0"/>
      <p:bldP spid="11" grpId="0" animBg="1"/>
      <p:bldP spid="12"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4A2B36E-68C3-4E98-9296-333331110423}"/>
              </a:ext>
            </a:extLst>
          </p:cNvPr>
          <p:cNvSpPr txBox="1">
            <a:spLocks/>
          </p:cNvSpPr>
          <p:nvPr/>
        </p:nvSpPr>
        <p:spPr>
          <a:xfrm>
            <a:off x="410234" y="259611"/>
            <a:ext cx="11270515" cy="4431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62564">
                      <a:srgbClr val="1A1A1A"/>
                    </a:gs>
                    <a:gs pos="55000">
                      <a:srgbClr val="1A1A1A"/>
                    </a:gs>
                  </a:gsLst>
                  <a:lin ang="5400000" scaled="0"/>
                </a:gradFill>
                <a:effectLst/>
                <a:uLnTx/>
                <a:uFillTx/>
                <a:latin typeface="Segoe UI Light" panose="020B0502040204020203" pitchFamily="34" charset="0"/>
                <a:ea typeface="+mn-ea"/>
                <a:cs typeface="Segoe UI Light" panose="020B0502040204020203" pitchFamily="34" charset="0"/>
              </a:rPr>
              <a:t>Enterprise innovation goes across all technologies, not just AI…</a:t>
            </a:r>
          </a:p>
        </p:txBody>
      </p:sp>
      <p:grpSp>
        <p:nvGrpSpPr>
          <p:cNvPr id="18" name="Group 17">
            <a:extLst>
              <a:ext uri="{FF2B5EF4-FFF2-40B4-BE49-F238E27FC236}">
                <a16:creationId xmlns:a16="http://schemas.microsoft.com/office/drawing/2014/main" id="{561CB0C2-29FC-4380-A350-F6FC97912865}"/>
              </a:ext>
            </a:extLst>
          </p:cNvPr>
          <p:cNvGrpSpPr/>
          <p:nvPr/>
        </p:nvGrpSpPr>
        <p:grpSpPr>
          <a:xfrm>
            <a:off x="573206" y="949030"/>
            <a:ext cx="10631606" cy="5719379"/>
            <a:chOff x="573206" y="949030"/>
            <a:chExt cx="10631606" cy="5719379"/>
          </a:xfrm>
        </p:grpSpPr>
        <p:sp>
          <p:nvSpPr>
            <p:cNvPr id="16" name="Oval 15">
              <a:extLst>
                <a:ext uri="{FF2B5EF4-FFF2-40B4-BE49-F238E27FC236}">
                  <a16:creationId xmlns:a16="http://schemas.microsoft.com/office/drawing/2014/main" id="{9B484CEA-82A9-4129-B270-69BEDDD705D5}"/>
                </a:ext>
              </a:extLst>
            </p:cNvPr>
            <p:cNvSpPr/>
            <p:nvPr/>
          </p:nvSpPr>
          <p:spPr bwMode="auto">
            <a:xfrm>
              <a:off x="573206" y="2964031"/>
              <a:ext cx="10631606" cy="13411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146" name="Picture 2" descr="Image result for Enterprise icon">
              <a:extLst>
                <a:ext uri="{FF2B5EF4-FFF2-40B4-BE49-F238E27FC236}">
                  <a16:creationId xmlns:a16="http://schemas.microsoft.com/office/drawing/2014/main" id="{F6BA2A80-A459-41E4-B151-60CB2455F3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7796" y="4727414"/>
              <a:ext cx="2259700" cy="16947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D93F20B-8672-49C4-A66A-B5E40BF09EAC}"/>
                </a:ext>
              </a:extLst>
            </p:cNvPr>
            <p:cNvPicPr>
              <a:picLocks noChangeAspect="1"/>
            </p:cNvPicPr>
            <p:nvPr/>
          </p:nvPicPr>
          <p:blipFill>
            <a:blip r:embed="rId4"/>
            <a:stretch>
              <a:fillRect/>
            </a:stretch>
          </p:blipFill>
          <p:spPr>
            <a:xfrm>
              <a:off x="4627796" y="1283199"/>
              <a:ext cx="2259700" cy="1384765"/>
            </a:xfrm>
            <a:prstGeom prst="rect">
              <a:avLst/>
            </a:prstGeom>
          </p:spPr>
        </p:pic>
        <p:sp>
          <p:nvSpPr>
            <p:cNvPr id="8" name="Title 1">
              <a:extLst>
                <a:ext uri="{FF2B5EF4-FFF2-40B4-BE49-F238E27FC236}">
                  <a16:creationId xmlns:a16="http://schemas.microsoft.com/office/drawing/2014/main" id="{8888FDEC-680D-4434-85FA-443E1C80B421}"/>
                </a:ext>
              </a:extLst>
            </p:cNvPr>
            <p:cNvSpPr txBox="1">
              <a:spLocks/>
            </p:cNvSpPr>
            <p:nvPr/>
          </p:nvSpPr>
          <p:spPr>
            <a:xfrm>
              <a:off x="4627797" y="949030"/>
              <a:ext cx="22597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State-of-the-art applications</a:t>
              </a:r>
            </a:p>
          </p:txBody>
        </p:sp>
        <p:sp>
          <p:nvSpPr>
            <p:cNvPr id="9" name="Title 1">
              <a:extLst>
                <a:ext uri="{FF2B5EF4-FFF2-40B4-BE49-F238E27FC236}">
                  <a16:creationId xmlns:a16="http://schemas.microsoft.com/office/drawing/2014/main" id="{36EF97D8-8425-4910-8034-78DBBC25972A}"/>
                </a:ext>
              </a:extLst>
            </p:cNvPr>
            <p:cNvSpPr txBox="1">
              <a:spLocks/>
            </p:cNvSpPr>
            <p:nvPr/>
          </p:nvSpPr>
          <p:spPr>
            <a:xfrm>
              <a:off x="4627796" y="6422188"/>
              <a:ext cx="22597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The enterprise</a:t>
              </a:r>
            </a:p>
          </p:txBody>
        </p:sp>
        <p:sp>
          <p:nvSpPr>
            <p:cNvPr id="10" name="Title 1">
              <a:extLst>
                <a:ext uri="{FF2B5EF4-FFF2-40B4-BE49-F238E27FC236}">
                  <a16:creationId xmlns:a16="http://schemas.microsoft.com/office/drawing/2014/main" id="{15012E6F-7FDF-402D-9F1B-F36DA3C8EC63}"/>
                </a:ext>
              </a:extLst>
            </p:cNvPr>
            <p:cNvSpPr txBox="1">
              <a:spLocks/>
            </p:cNvSpPr>
            <p:nvPr/>
          </p:nvSpPr>
          <p:spPr>
            <a:xfrm>
              <a:off x="1244722" y="3434714"/>
              <a:ext cx="913195"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loud</a:t>
              </a:r>
            </a:p>
          </p:txBody>
        </p:sp>
        <p:sp>
          <p:nvSpPr>
            <p:cNvPr id="11" name="Title 1">
              <a:extLst>
                <a:ext uri="{FF2B5EF4-FFF2-40B4-BE49-F238E27FC236}">
                  <a16:creationId xmlns:a16="http://schemas.microsoft.com/office/drawing/2014/main" id="{1A464E58-C58F-4FD1-BAEF-9C0C62709286}"/>
                </a:ext>
              </a:extLst>
            </p:cNvPr>
            <p:cNvSpPr txBox="1">
              <a:spLocks/>
            </p:cNvSpPr>
            <p:nvPr/>
          </p:nvSpPr>
          <p:spPr>
            <a:xfrm>
              <a:off x="2577214" y="3254721"/>
              <a:ext cx="1832145"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loud-Native: Microservices </a:t>
              </a:r>
            </a:p>
          </p:txBody>
        </p:sp>
        <p:sp>
          <p:nvSpPr>
            <p:cNvPr id="12" name="Title 1">
              <a:extLst>
                <a:ext uri="{FF2B5EF4-FFF2-40B4-BE49-F238E27FC236}">
                  <a16:creationId xmlns:a16="http://schemas.microsoft.com/office/drawing/2014/main" id="{558A4437-CE98-41EA-B2E5-E31C8DEC2431}"/>
                </a:ext>
              </a:extLst>
            </p:cNvPr>
            <p:cNvSpPr txBox="1">
              <a:spLocks/>
            </p:cNvSpPr>
            <p:nvPr/>
          </p:nvSpPr>
          <p:spPr>
            <a:xfrm>
              <a:off x="4928946" y="3439387"/>
              <a:ext cx="1402842"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ontainers</a:t>
              </a:r>
            </a:p>
          </p:txBody>
        </p:sp>
        <p:sp>
          <p:nvSpPr>
            <p:cNvPr id="13" name="Title 1">
              <a:extLst>
                <a:ext uri="{FF2B5EF4-FFF2-40B4-BE49-F238E27FC236}">
                  <a16:creationId xmlns:a16="http://schemas.microsoft.com/office/drawing/2014/main" id="{882ACDD2-4DC5-49C2-A7F4-0A10A43D7E0B}"/>
                </a:ext>
              </a:extLst>
            </p:cNvPr>
            <p:cNvSpPr txBox="1">
              <a:spLocks/>
            </p:cNvSpPr>
            <p:nvPr/>
          </p:nvSpPr>
          <p:spPr>
            <a:xfrm>
              <a:off x="6871709" y="3439387"/>
              <a:ext cx="925169"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I/CD</a:t>
              </a:r>
            </a:p>
          </p:txBody>
        </p:sp>
        <p:sp>
          <p:nvSpPr>
            <p:cNvPr id="14" name="Title 1">
              <a:extLst>
                <a:ext uri="{FF2B5EF4-FFF2-40B4-BE49-F238E27FC236}">
                  <a16:creationId xmlns:a16="http://schemas.microsoft.com/office/drawing/2014/main" id="{90CC03FE-2ABA-4640-84EE-F4341990FBB8}"/>
                </a:ext>
              </a:extLst>
            </p:cNvPr>
            <p:cNvSpPr txBox="1">
              <a:spLocks/>
            </p:cNvSpPr>
            <p:nvPr/>
          </p:nvSpPr>
          <p:spPr>
            <a:xfrm>
              <a:off x="8643376" y="3434714"/>
              <a:ext cx="2239667"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n-ea"/>
                  <a:cs typeface="Segoe UI Light" panose="020B0502040204020203" pitchFamily="34" charset="0"/>
                </a:rPr>
                <a:t>AI/ML      Bots</a:t>
              </a:r>
            </a:p>
          </p:txBody>
        </p:sp>
        <p:sp>
          <p:nvSpPr>
            <p:cNvPr id="7" name="Arrow: Curved Down 6">
              <a:extLst>
                <a:ext uri="{FF2B5EF4-FFF2-40B4-BE49-F238E27FC236}">
                  <a16:creationId xmlns:a16="http://schemas.microsoft.com/office/drawing/2014/main" id="{0EDBECE8-E2B2-4C52-8890-EE6449737062}"/>
                </a:ext>
              </a:extLst>
            </p:cNvPr>
            <p:cNvSpPr/>
            <p:nvPr/>
          </p:nvSpPr>
          <p:spPr bwMode="auto">
            <a:xfrm rot="19987924">
              <a:off x="3079329" y="1727333"/>
              <a:ext cx="1480782" cy="738664"/>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Arrow: Curved Down 16">
              <a:extLst>
                <a:ext uri="{FF2B5EF4-FFF2-40B4-BE49-F238E27FC236}">
                  <a16:creationId xmlns:a16="http://schemas.microsoft.com/office/drawing/2014/main" id="{A9EED78E-0FA4-43A7-9CB9-1A30DC8D6834}"/>
                </a:ext>
              </a:extLst>
            </p:cNvPr>
            <p:cNvSpPr/>
            <p:nvPr/>
          </p:nvSpPr>
          <p:spPr bwMode="auto">
            <a:xfrm rot="13119860">
              <a:off x="2976276" y="4578403"/>
              <a:ext cx="1480782" cy="738664"/>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Arrow: Curved Up 14">
              <a:extLst>
                <a:ext uri="{FF2B5EF4-FFF2-40B4-BE49-F238E27FC236}">
                  <a16:creationId xmlns:a16="http://schemas.microsoft.com/office/drawing/2014/main" id="{E2AB89D8-F89E-4577-A4E2-369C0E9DA0A6}"/>
                </a:ext>
              </a:extLst>
            </p:cNvPr>
            <p:cNvSpPr/>
            <p:nvPr/>
          </p:nvSpPr>
          <p:spPr bwMode="auto">
            <a:xfrm rot="12609888">
              <a:off x="6903849" y="1757458"/>
              <a:ext cx="1405941" cy="734044"/>
            </a:xfrm>
            <a:prstGeom prst="curved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Arrow: Curved Up 18">
              <a:extLst>
                <a:ext uri="{FF2B5EF4-FFF2-40B4-BE49-F238E27FC236}">
                  <a16:creationId xmlns:a16="http://schemas.microsoft.com/office/drawing/2014/main" id="{49DC794C-2373-43BF-81D1-0FC4184FF298}"/>
                </a:ext>
              </a:extLst>
            </p:cNvPr>
            <p:cNvSpPr/>
            <p:nvPr/>
          </p:nvSpPr>
          <p:spPr bwMode="auto">
            <a:xfrm rot="19519656">
              <a:off x="7177541" y="4629905"/>
              <a:ext cx="1405941" cy="734044"/>
            </a:xfrm>
            <a:prstGeom prst="curved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 name="Rectangle 19">
            <a:extLst>
              <a:ext uri="{FF2B5EF4-FFF2-40B4-BE49-F238E27FC236}">
                <a16:creationId xmlns:a16="http://schemas.microsoft.com/office/drawing/2014/main" id="{3DDF8976-3016-4444-8910-CE03964038CA}"/>
              </a:ext>
            </a:extLst>
          </p:cNvPr>
          <p:cNvSpPr/>
          <p:nvPr/>
        </p:nvSpPr>
        <p:spPr>
          <a:xfrm>
            <a:off x="8310236" y="1283199"/>
            <a:ext cx="3583607" cy="1323439"/>
          </a:xfrm>
          <a:prstGeom prst="rect">
            <a:avLst/>
          </a:prstGeom>
          <a:solidFill>
            <a:schemeClr val="accent5">
              <a:lumMod val="20000"/>
              <a:lumOff val="80000"/>
            </a:schemeClr>
          </a:solidFill>
          <a:ln>
            <a:solidFill>
              <a:schemeClr val="bg1">
                <a:lumMod val="85000"/>
              </a:schemeClr>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Just ML.NET Hello-World samples?</a:t>
            </a:r>
            <a:b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Or…</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Comprehensive list of sample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End-to-end reference application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Cloud-Native applications + AI/ML</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303983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a:t>Generally Available</a:t>
            </a:r>
          </a:p>
        </p:txBody>
      </p:sp>
      <p:sp>
        <p:nvSpPr>
          <p:cNvPr id="2" name="Title 1"/>
          <p:cNvSpPr>
            <a:spLocks noGrp="1"/>
          </p:cNvSpPr>
          <p:nvPr>
            <p:ph type="title"/>
          </p:nvPr>
        </p:nvSpPr>
        <p:spPr>
          <a:xfrm>
            <a:off x="273398" y="87210"/>
            <a:ext cx="3780246" cy="899665"/>
          </a:xfrm>
        </p:spPr>
        <p:txBody>
          <a:bodyPr/>
          <a:lstStyle/>
          <a:p>
            <a:r>
              <a:rPr lang="en-US">
                <a:gradFill>
                  <a:gsLst>
                    <a:gs pos="2917">
                      <a:schemeClr val="tx1"/>
                    </a:gs>
                    <a:gs pos="30000">
                      <a:schemeClr val="tx1"/>
                    </a:gs>
                  </a:gsLst>
                  <a:lin ang="5400000" scaled="0"/>
                </a:gradFill>
              </a:rPr>
              <a:t>Azure Stream Analytics</a:t>
            </a:r>
            <a:endParaRPr lang="en-US"/>
          </a:p>
        </p:txBody>
      </p:sp>
      <p:sp>
        <p:nvSpPr>
          <p:cNvPr id="3" name="Text Placeholder 2"/>
          <p:cNvSpPr>
            <a:spLocks noGrp="1"/>
          </p:cNvSpPr>
          <p:nvPr>
            <p:ph type="body" sz="quarter" idx="10"/>
          </p:nvPr>
        </p:nvSpPr>
        <p:spPr>
          <a:xfrm>
            <a:off x="234670" y="1444857"/>
            <a:ext cx="4076073" cy="5286062"/>
          </a:xfrm>
        </p:spPr>
        <p:txBody>
          <a:bodyPr vert="horz" wrap="square" lIns="146304" tIns="91440" rIns="146304" bIns="91440" rtlCol="0" anchor="t">
            <a:spAutoFit/>
          </a:bodyPr>
          <a:lstStyle/>
          <a:p>
            <a:pPr marL="285750" indent="-285750" fontAlgn="base">
              <a:buFont typeface="Arial" panose="020B0604020202020204" pitchFamily="34" charset="0"/>
              <a:buChar char="•"/>
            </a:pPr>
            <a:r>
              <a:rPr lang="en-US" dirty="0"/>
              <a:t>Fully managed PaaS service for real-time analytics and complex event processing with built-in integration with over dozen services in Azure</a:t>
            </a:r>
          </a:p>
          <a:p>
            <a:pPr marL="285750" indent="-285750" fontAlgn="base">
              <a:buFont typeface="Arial" panose="020B0604020202020204" pitchFamily="34" charset="0"/>
              <a:buChar char="•"/>
            </a:pPr>
            <a:r>
              <a:rPr lang="en-US" dirty="0"/>
              <a:t>Author powerful queries with simple SQL like language</a:t>
            </a:r>
            <a:endParaRPr lang="en-US" dirty="0">
              <a:cs typeface="Segoe UI"/>
            </a:endParaRPr>
          </a:p>
          <a:p>
            <a:pPr marL="285750" indent="-285750" fontAlgn="base">
              <a:buFont typeface="Arial" panose="020B0604020202020204" pitchFamily="34" charset="0"/>
              <a:buChar char="•"/>
            </a:pPr>
            <a:r>
              <a:rPr lang="en-US" dirty="0"/>
              <a:t>Available in the cloud and on Azure IoT Edge runtime</a:t>
            </a:r>
            <a:endParaRPr lang="en-US" dirty="0">
              <a:cs typeface="Segoe UI"/>
            </a:endParaRPr>
          </a:p>
          <a:p>
            <a:pPr marL="285750" indent="-285750" fontAlgn="base">
              <a:buFont typeface="Arial" panose="020B0604020202020204" pitchFamily="34" charset="0"/>
              <a:buChar char="•"/>
            </a:pPr>
            <a:endParaRPr lang="en-US" dirty="0"/>
          </a:p>
          <a:p>
            <a:pPr fontAlgn="base"/>
            <a:r>
              <a:rPr lang="en-US" dirty="0"/>
              <a:t>     Key </a:t>
            </a:r>
            <a:r>
              <a:rPr lang="en-US" dirty="0">
                <a:cs typeface="Segoe UI"/>
              </a:rPr>
              <a:t>solution scenarios:</a:t>
            </a:r>
          </a:p>
          <a:p>
            <a:pPr marL="577850" lvl="1" indent="-285750" fontAlgn="base">
              <a:buFont typeface="Arial" panose="020B0604020202020204" pitchFamily="34" charset="0"/>
              <a:buChar char="•"/>
            </a:pPr>
            <a:r>
              <a:rPr lang="en-US" sz="1400" dirty="0">
                <a:solidFill>
                  <a:schemeClr val="bg2">
                    <a:lumMod val="50000"/>
                  </a:schemeClr>
                </a:solidFill>
              </a:rPr>
              <a:t>Remote</a:t>
            </a:r>
            <a:r>
              <a:rPr lang="en-US" sz="1400" dirty="0">
                <a:solidFill>
                  <a:schemeClr val="bg2">
                    <a:lumMod val="50000"/>
                  </a:schemeClr>
                </a:solidFill>
                <a:cs typeface="Segoe UI"/>
              </a:rPr>
              <a:t> </a:t>
            </a:r>
            <a:r>
              <a:rPr lang="en-US" sz="1400" b="1" dirty="0">
                <a:solidFill>
                  <a:schemeClr val="bg2">
                    <a:lumMod val="50000"/>
                  </a:schemeClr>
                </a:solidFill>
                <a:cs typeface="Segoe UI"/>
              </a:rPr>
              <a:t>monitoring</a:t>
            </a:r>
          </a:p>
          <a:p>
            <a:pPr marL="577850" lvl="1" indent="-285750" fontAlgn="base">
              <a:buFont typeface="Arial" panose="020B0604020202020204" pitchFamily="34" charset="0"/>
              <a:buChar char="•"/>
            </a:pPr>
            <a:r>
              <a:rPr lang="en-US" sz="1400" b="1" dirty="0">
                <a:solidFill>
                  <a:schemeClr val="bg2">
                    <a:lumMod val="50000"/>
                  </a:schemeClr>
                </a:solidFill>
              </a:rPr>
              <a:t>Predictive maintenance</a:t>
            </a:r>
            <a:endParaRPr lang="en-US" sz="1800"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cs typeface="Segoe UI"/>
              </a:rPr>
              <a:t>Real-time dashboarding</a:t>
            </a:r>
            <a:endParaRPr lang="en-US" sz="1400" dirty="0">
              <a:solidFill>
                <a:schemeClr val="bg2">
                  <a:lumMod val="50000"/>
                </a:schemeClr>
              </a:solidFill>
            </a:endParaRPr>
          </a:p>
          <a:p>
            <a:pPr marL="577850" lvl="1" indent="-285750" fontAlgn="base">
              <a:buFont typeface="Arial" panose="020B0604020202020204" pitchFamily="34" charset="0"/>
              <a:buChar char="•"/>
            </a:pPr>
            <a:r>
              <a:rPr lang="en-US" sz="1400" dirty="0">
                <a:solidFill>
                  <a:schemeClr val="bg2">
                    <a:lumMod val="50000"/>
                  </a:schemeClr>
                </a:solidFill>
              </a:rPr>
              <a:t>Fleet monitoring and connected cars</a:t>
            </a:r>
            <a:endParaRPr lang="en-US" sz="1400"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rPr>
              <a:t>IT infrastructure and network monitoring</a:t>
            </a:r>
            <a:endParaRPr lang="en-US"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cs typeface="Segoe UI"/>
              </a:rPr>
              <a:t>Monitor online gaming</a:t>
            </a:r>
          </a:p>
          <a:p>
            <a:pPr marL="285750" lvl="0" indent="-285750">
              <a:buChar char="•"/>
            </a:pPr>
            <a:endParaRPr lang="en-US" dirty="0">
              <a:latin typeface="Segoe UI"/>
              <a:cs typeface="Segoe UI"/>
            </a:endParaRPr>
          </a:p>
          <a:p>
            <a:endParaRPr lang="en-US" sz="1200" dirty="0">
              <a:latin typeface="Segoe UI Semibold" panose="020B0702040204020203" pitchFamily="34" charset="0"/>
              <a:cs typeface="Segoe UI Semibold"/>
            </a:endParaRPr>
          </a:p>
        </p:txBody>
      </p:sp>
      <p:sp>
        <p:nvSpPr>
          <p:cNvPr id="6" name="AutoShape 2" descr="data:image/png;base64,%20iVBORw0KGgoAAAANSUhEUgAAAigAAAFzCAYAAAFjq8K6AAAAAXNSR0IArs4c6QAAAARnQU1BAACxjwv8YQUAAAAJcEhZcwAADsMAAA7DAcdvqGQAAP+lSURBVHhe7H0FYBzH9f53KJYsNsnMdswcU+wY43Ac5oax4bRpmn/6KzfYtKGmbZIGGoaGOQ6jA7YTMzPIFuvw/753t9LqdHe6O4Fl577T0+7OzswOvHnzhpFEY1iCVwPGs+Wmm24K3h7YuPnmm3nxB0lhThTL1KlTbXK1l5aW2jIzM60ejyc00Q4o2O12f0VFha9z586e6upq7/vvv+8VY39dpCVB7AsXLnQHHxV+vx8WS8CKcW82a0+IFK6DDjpIr6tWrUK/fv3wzTff6DPtn3jU4fhx7YZ+DoejvLa2trx///41Tz31lNeqNgIcY+cNLRtkwHxv/rB4Frxrv1i/fj18Ph+E87Fr1y707dsX06ZNg9VqxQkzJzA+A7xeb5cMwZIlS1hS6mJoFU5JFxYq1yd7ql7CgckTjU+aer8vES5snpqKKyTRlgn9mJ6evvXTTz+tVU5ZsGCBxe12N4rLGSedguuvvgIiY4ImQIrNjr69eiG/QwdMGDcOudk5SHU4kWJ3oFOnTrjgnHOCNtsnfD4/PG43evfooRwknJIrxhlpaWlaUgij+KCBUJUk3VO6BzWuvUhJcYolqz7T3OXxYMWq1dglz598+hlK9+4Vey7Uyoe2bN6C+/7xQCBL2iFZhKxSOOySgavWrJV7jb5dEsYmCVTHGHWJQkjCNJAfJSU9YbPZtPwFYEFuTg4uOO8cpIg8+dc/7kNVVRUWHHskfv2rX8AvuTBgwICg3f0XDRJFqqgGgjRVuGTw4MHw+jxBc79yxr33P6Cccfa550PKIZ565gX85rd/gMVqwY8//hhwvB+jQaJkZWXVcUoHkRlXXnsDZsw6DFbhlhzhEFp2SsLZJfJZGRnIy8vVxOrfpw8Lq7qTwon01FTYHXaVOS4pWpRuLo8LXr8PNTXVaq+tMWrECHQRmde5uBjz5sxGpmRmJChbiKC1rVu3LkNu9/J58JARvLQYLJLQ3u6HBu7JdRvf13szamtrgnf1MJVkhV8S1YzQ9z6qXnXwS2bWcz1hAWvceljlcdmP3/9e5Ml3UkoWyXXjV199VdMgUcRwL3M+IydfHbUbGJFvGMcWQXnpjkaJ0qD4UKDWyxS+ai4R4cxbi4hw5mZqGg04ReSJckp6Vp7WKvsbqGFLtRp8igxWDgbK9zTBKfVc0vII9TrQ6uK/EMHQgkg0NrHxUwtgzKjRwTsLnIP6BdOC/yzoMHM8bL6GQrAlkGhyN0iUOiVNk9iP/KNmBu5NpDkchSK+ZxDlautYBNcPywOcE6Q9b30Kr82L9DHDovrvsfmRNWwg8uZORcH86Sg57Ui4WYWEsXv4YXNxztmnmsxs4f0OgwaJImUqeBeAL4KjRECv/EUF8G7bFjAIg6ovv1V7qX16BAyC8EiCZR8yHnYJUPl3P2D3a+9j58vvYMMjL8Dhb1AP18EiP1+wCqbuZRVtO1Y0SBRpQjdKmHjBSL05qh+spjCkde0EtwTKsn1n0CQ6alau1WtKaqY2HexeG8re/VTNYsWLr7yCf/37Ib2nrPRZY49Xg0Rp2M6px5mnnabXkl9drFczXr2VOl9DeKWh5TVxWZHVKVpuSvApMvr07AlXVa0mqN8j7ai+JRjQT7TlKDj9lFOCdy2HBilQ12nEXDZyWgriUUfM1WemOFuaL4/qG2InQD4W2qCZxbgXkupe1H2pKuX+6KOOrDM307jRo7Fy9Ro401KE7cW9aKPfSlFZtmKVfvOow+fDKeFzSAv37rv+JgVDdCoxf/iRRxv5NVpUeibsmaed3sCc9s3PSmHQIFFC63j1xASjXRSqLhOvvvQ8ut98KbxhOM2M5557IVBExSs/2Vpa5uzf+OyLL4M2GoNfff7Fl+Cu9WBQuhPnXHgRru7ZRWRe4yKRkpKK75f8AIdcH3viSX02k9PZNMdGjYFfUuXua6RcSzK8MqZxl0D3Gy6uT2wV7cAbd2Q0kCcG0kzFh0VUpBcOz8vG7w4ajFtGDUaGXWqHet8aIU2CyvB8u7cSTpsVf1q9Qb5jxR8H9Q7aCIBtKINcpvs6M1dt0GZkhE8Uxs8kE8wIxr2hnTB2n3/28To7XikKldWV+nhL/0AkbJIwL+3eixt/XIbrv1+OShHyLJ6HdSqUFrVbappAppBPphc4UE2uCPpnEMNy/Q+rGpvLz8vWYfDe+LGVHmo3HKLzeozwuD3Bu3qw28+ATe6toieQ3a9eHoxEBLy8dYfKDo+qH2JREuqdXU2r7mYwcVlpGPcGhatEwiGuRKHHBp576r/BOwveHD9E8iE6nE6H2Iz9c7f9IouSWwi45JjsoGl4PPT/hgXv6sEinGq3C5tKhogsrKl0Bd80jfChDHBtWFxxktHT31jINYLhj5BLuUlY2mQWjqaPkCCJrLjy9+XKJWSWvz1TJtwGZGX6ceVJ6ThlThpy04QbfLQLnHHTtw38IFGlqxYhTis+eiJIqPZpCqx9Zo8OdRLB51CINa2mw9RcFnk59+A0vb7zNRO7cYJT7ykvt+C2x6rw6KvVKK0SGRGm9jHAUDIRpOLW51SptWJFlESxCtsJ+4lfGY5UEYwOubXClmKHzSL3UpvYbXap+kRjsDiRmpaKdMlZhz1Nou3XoRADHgmdT94JI0vOeXHW4XZ4aqoxZawFHuFqn5i/+lG1vA9EoCUQY1aFhYYitDuS/SmVVZXIy8sTDrZi965dNEbnzp1FNjixdm1ADSe69+iuHLR+3fqgiZh1744NGzfA563PyWHDhiFV3H72xRf6TL+KCwux6Fth/SA4xFnSpTNeee11faa/h0ydinffexcWNvwEkyZPwo4dO7BMai2CmTFq+Ah89Mkndf0pXTp2woxZh+Ir0X2W/PCD2jOjqf6U8ImSzU6mxn2mBHMgWn429b414XDYonYyGWFrkChNdUc2hFG2W58YmXDmZkoT9T+cuZli6XWLBcqTgwcPtu7du5eS6Bd8dqSk6QcuvuACrF65EmOlXbJm1SocOmMGcrKyUVRYgG3CwsTZZ5yJcWPHIC83F0uXLMVll1yiitlh8+biq68XqZ0JY8dimbDxReJffl4+RkhRGjSgP6UWduzcqTrF4fPmYcWyZTjrzDORLd/o3LEjOhUXi4yyY29ZmRYNh/h73jk/Qyd5V1tTizlzZmPxkiX6jVhBTjFPDHDVVH0gxXSb6DBb5Vq2ZcuWwFBpOJnSln20sfStkuVbKkxx9dFGAlMuLTU1UB7lGg4pKSm4+sor9P74447RazgU5nXQKwekGkEEK7ns2qt+ro9HHnmEXg3Iax221TDIQ5dOnSVcafquV48e6CLCu6dceU+Q03r37InOnTqhW0mJCvpYEDVR0iSiNlal0qq96693SIvWi3/8497g2wCKCgqQmZ4qilUabrntdjWbM7dxhFXtFn/uu/8+jdAVV1wWfGOCfGv6tMnYsnW7Pp50/LF6NUBdbldpKSqkZpRcxcbNm1AdHHFctXo1Nm7ciI2bNmHVmjVqtmnLFqwU881yXb9hg04EiAXhi4/WPg1Ztba2VrnBuIaC1WfXriUok/JfVra3QZPAjJrqGqSIjkP7RlvEXHxYjbNKZ+S8opFapUVMpKWlobq6eUOuLVD7NISREM4wCUIwETZt2oiy8rKICUJQr4jWOGMiUMfhEKmRIAYypNhkSYS6iKClbnLiggWqN1FzHTJwkPbCjR01CpMnTgy6SAxRE8Un7ZXaKskdkxIWCqY+WdlApOQgZ0SDR7iiKVR7HfAVzMHO1PF4Z90uPPbeGtRkjdJvUhl0OOzIysrEDz80b+aDxoHFZ9OmTekSsDI+hys+BgwWbEnEUvu0VvEp2739/4Rzv5fi843Ef1OdRitoMOeNVfJPBWWl26+Ryw+SKEupq3DOm5EolvHjx6dKShV4vd6ewupdxEKWmFO5a2nGaC8g43iES/ZIfNdL7biuVLBy5UpXXaKMGjWKzVoWoVxJkGyxmCIWD9QEUYgs9AkT1Iiw3iviolQ0+2rOozVHWhNGyrZTyrjd5XJZxYElOzt6r9f+CqoOkul+kVVeYQK31K7uRjOug+CzRQSvZfv27Qc0lxgoKiryC3cY1Wf0KjKJJBogbPH5qSxrIaIubaECxwn7nI4tQscmtdABLVNEL9FEkArII5WLR5Q2ClmVLUbErVJfe6mKm9stkZ5JVO3N79oDWFPm5ubqag2Cs7/ZuPziiy/Qo0cPLFy4UM2Jkf174etlqzF8+PAe4m7vjh07qpYuXUq12q9tH9FmG7SBGHmCkRYO0ntzAhltnfaWKKxmiYqKCr0yfFu2bNF74rDDDkNBQQEGDRqEW66/SM3ETq/y8vL8Dh06pEhcNR0YK9VPpM4OdDZYRIm1JbaOh0lpTqbQ51iRqLtQGP5E8o+jiDXVZWeInrJEFLg1IjbKRFfxaMrs3bu3UWt59+7d+Msff4vbb/ljXUNs5LChGNi3H3oJS3YQVu3dvQdSpTHXo6SbmPXAL665Rj/UXmAkhDlBjjnqKJ0Lc8qJJ+qzMEO2JEqKyBWrcJha5T9Lnz59nHl5eYExDeEUi82pa3zOPfMMHH3skZh3+DE6V/9AAznBVVvxcylCX0kFs0wyf48IXHcDDjn66KP1umfPHr0efuRhqKmpH//hJP9TTz4Rhfl5qCwvx9zZs4QOxa1/+RMy5N3ggQOjd9C0TzQqWWE5BVaHJswr/3tWBdXPzrv4QOaUK4RTvozIKVx0aCCnQ44Wm5+dX58g7toasN3M8RdOyyIcNpsuiCK6l5Robx2XvhCG+fChQ1HjqtFO5kbZ0oowxBuv+VJVc/yKK0pq2IFm6i0MRSNOycjMkjo9+ozEeOHtOl0XSBG29W9KIBsXMk69MiOoFdShqWUtfl9gebABq433DbOgwVw9ixdWqw0//vBdI05pkCgzZszAu+8tRGoG+5cOfLCm3FO6PXrxefvtt4N3BF81l4hw5q1FRDhzMzWNBpxC9rPZnfBb7A1YMVFkZGSgsrJS/ZLcCJq2HjjcocvzosDcac0kapJTWivg9Lexz5ofQWodJOpzbPzUTDBwBt/5glPUOa8pYOqH32FvlaRJlNcbJIrHGJCSEJbcKA0mLmZmaGMk7dw0PzNYJnNLLS+BtRVmuxb5rle4qZZv5DnUH4P8Xj+KT56LwtlTUXjUTBTMmRyIQIi9o444AseKIvrK/57H9ddcBZ8U3z49ezeyFwkNEsXOKZYmxLHwoUk4pZnlTw1XjAKQt0iRapLz++2c0mhGSobmusVuwbbHX8WON97HjhfexM7XPwgsv/GbqlrBCy/+D889+wLmHnEUVq5aqQkwbsLY4Num0eDrP/vZz4J3iYPK0Utj6ue1+iWS/rQMuDiFOgaGtlr88EhuWEUJtGZlBHp9agOztSPht7/5dfAuAM7U5lIWunn6uRfYWYRHH3888DIGNEiUf/7zn8G7epxz9ll67XLWcXo1g+x8/uEN56twFqTVyk6sACwSwE6ZjZe/hMMZp56kugP1riqXBzdc+nNN5Ijw+eGt9eBXLdx92iBR6vYpMIXj6KMO12fNKbkWSgvawfV+5rDynnaCpOA9Xcl16/btATve8JOLudCJ7h76z+PB2Wuc95qK//vd79QPi7w/9eRTpElhx+BBg3HU4UcEuigkA2xOKfImv0jjRo9BXk4HnHX6GY3eNaAIaJAoofsUqMATmFnXAi+8YTpNnn/mKZT8X2AGUkQEp31efuml6ieXtvz6V7/UKjtKGNXeI489jNNLCvH1t9/g/ZdehE2Ec6iEskqbjMtXvvnue1RW1+DR/z6hz07T0pZYECLRGuKl2wLTqF47eCgadWO7vUjpXb/WL9A08eOVOxuPKHbs2DF4F8Adf/sbshw23HlQX5Q++hCu6N1FIt5QWJrBPOBSwX+u2aL7tJTKt9xSKfhEMNdxpoDdpA2WsYRcSbEgfKLUJUBIStQ9BkISmFbOm8BFPZN7i6TQP+75m9gSe/K8m8VHrl7O4JbIkS/KPF78/PvluGvtJty+epOYSc3jseHynp10Hr7PJhwp1CNDIi7vLJwexu+YiAsg2MscWoX75PvGUhYucWFoaWa2oxQBUTklFvCDfle9YDVAOWHAJQG6ZXB/2KyiBzWs9RvA6vDizrVbdFmLVeQW1yqvrbJJcY3MRURo/FiMWCR5tQUTk/exIqFE8UguZ2dm6r1XapoHuaYwCrpmpOHqJYFp47EgQ+SFwyK57bOjIKNW+CTyhB4vFw+EQIuUhPGRBwO16c033qDXWBE+UeozuQFGD7RKzRDs6Q/DfqHOjNpnY0U1rj9LZA0tRKGMDLfKjyqpZdyiwFksHuysSJEq2iHFwIEz5qTj5ydnYcxgB6rJnWLX5pcGoMkPEi/9B/TDr399MzoWd8RNN/2mkR2lCIiLU3p0cohSFDnXonwHf/xXGf5+fZfgUz2YtiWFIk/E38oK8T9g3Ag2ixsPvVqFOx4txxeL3UjTqeuRsXzFKqxZtx5bt24NyKM4EDFRuMTVlmJFakqK8IYTaRJctlt8HmFXj1sXdovOqRqoz2ZBSqoTTin7Dmm++ykDpJaoQ7C9cPEfN8ElevncSUB1bTl+fkq6JKQNG3bI14QTWhLRMqgpMKMadEdabQ6R5nZ06doFGekZWLYsIAu6deumfaw7tgfm5BNGVcvcMKOoqAj5+fm68Rz7U4ipU6cit0MHPP/CC/rctVMn5Imd7xYv1mf2ufTp2werVq7SZ2LixIno1Kkjnnnm2aAJcMT8+So0n3/xRX1mb2FBXi6eeOpp7U/xeD04dPp0fP/tdxgwcCDefb/hrj6x9KeETxQrO5nCCI0mwNwxu0oXrTTSEploCPUnVjhFuzV3Mhn+mP1rkCjyoslOpoYgy0cmRjiceUMiwpnXE9tG4cwToaZ63WIFJZBFuIRTMH5FA12BZbHihOOORf++/dAhO0faGwPRQ4oPG2fHHXsMvl+8ROv/zh07YfDAAZg2dQqyMrIwfdpU9OnVCz279xCZUavDrS5Rt39x3bUY0L8/vv3mW5x3zrk63DBi+AhtvXJpC3HJhRciOysTXTt30dVgQ6SN45VG4Y5d9ZtGTJ8yDR1yspXtzzrzLHz2xeeBFxFgcIeZ68zLWmheU1P5unDKZjHf5fF4arZs2aK9EWFlSlN9tGTDppaaGH200UD5YMxiaAvE3UcbDmPHjMLZZ5+p92eccbpeQ6HaqySiT2qk4449GhMnjA++aYiTTghM6zDnnBlXXhZoKEZKpLzcPBX4XHvI5SvFItCJki5d0Cu4hKUgL0/dM1N7du+udku6dtV33Gk0FkRNlKL8Qpxz1hlYsyqwkHJ7mA1h+FGu8Hrh+SfwuLRkn37mOXz8SeO9TugXB8T469+Xq8IaY8PGjdJG8WvxCoddu3fpos4tEg4uXzFqvXUb1geWtmzaVFccJffVDu3SXy5vMeatNIXwxUdrn0Dx4VqfnA65KN1TKuU5B+Xlgd1ZzcWHViUMASmv/9S4URFLlaZ7TUhLlYE3vtWtpBvWrlsriWesJm4ejKCYgtSw+MiLhIoPA8j1O1yxZSRIKJggdYgSm9AECcV6yfFoDTfOgeGyFc4tGTbkIEydJFqgIDMtXbeAHTtqNPr36Y0xo0apeaKIGILD5syBXxpVXNYSyMfGYI9YUzC4oCWE6bqKHLy9zIWHnnoSK6tG4LP1BdqPM3v2LBwntWVVVQVOOulkfPHVV2rfyJ8o+RQWtB+1+ERCuNqHLswBCGcnFObiYyDUn5ZEaPHZu2cH1+19Lc2W5aJm1Gu0gwYNcohk1t1WmCip6T+RAXahsr07OYTxvWTOakmwvZzzpoki7RLb7t27s0SB6Sq5xj7GArFElbW1MmyfQ+LH8lwl8eWa5LVCW7p3715pXsVhHT9+fIpYyBatLleu6eIoSh/Z/g+JJxuQLrfbXSnFpnTv3r3lXOsjr+pafVy5YV20aBGnjjpTU1NtnC14oC5rITjnVkqGj7Ot5dG1dOlSXrU2MBcPcwL9JJa2BJe1UK4blEQkJMINBzwH/YQQc+mIlOk0byBaOENbmgZJJjnAUFhYWNfSmDZtmu/mm282mKcBE4VmvFbMTz/9dHBCUxJtDTZ42PAxgyuWuCWpAfYKxdoJ0hSGDRtWJAqYV1qmHmno8JQjD5lH9HoyUF2dbB4iUibhermdO3feyAATY8eORc+ePTFixAicfvrp+PjjjzUyvXr1IjfqBgWcE3bMMcdoZM444wysWLFC1cXrr79exzguuOAC3QaMOzTMnDlTxzq4Con2Wqqn+UCCwSizZ8/Wk5q4BkDUbYwcOVIXShjzYpmGXH/EtCXzsN+X2jb3comEB/71L1xx2ARcevEFePm9j+nuWfGLByY409LSbBzMk+/7e/fu7Q8ypzKCwbq8cnUYGcch6m6jnmY/Z0kmAn4mVG4lERksoCEShX3L7Eo1kJGWjsrqkO6YRNJZ3Awa2J9z9/YKo+yWAr9LGsV7hNEqOnXqVJ2VleUJLmJv2BakNOHaQpEGujhROEzXP+mCC1vDYV5KFbanOC+GOyVG6iRvDp805bY5fieCtv5ec2CElYMr1117Lf58yy11/Xj8z55l9q/V1pRzqG+nMAh3c+OgxA72swlVBbd+IKPoMBihjMJOAxFj3G5Jt6qqg2ntKUUdReM1V1yO4cMO0oEDHmJ33Amnwef3quiTj6jdNId4JV/weNw6UlNQUKjikYMSHDccNGgghDl1pyfWuWS2mppa9OnTB8uXL0dqaoqK2NpaV31ITWjrjGvr7zUHsYSVjOKqrfid3HK+xBbJ103CMDtEnSiVPGSt4v4quHw9an3S4OAv8bSyohI8dYwjWRVyz/kT7AEWZUit0Ly8rDwQSqGCwuABQcK9s2fNwleLFkGqNT1bq6KqCl989bWeyFYmflHHKd1bppuwcUtQnru1t7wCCxYcH/Aj6KeZdHCpDamtv9cciimsAmEO8pNFpIleaRaudojKKKGTjA2GIBx2m85uomR46623GsyCNLBh4yZUyfvqqmr87e57dF98DodOmzJFmYqjjpxMyE0xn3jyKQ0lzYyxIT4//J//GHFKYh8iKqOIGAreBcAqxViFO3z4cGnBHIqDD54o98O0OmId2GDZsphxtNXucIAH06mSJvT2u+8qF/AdwQPoaK4MQTtBGM9JRokdXO3MbT6ZsiSmJolmXCVtp24iz/HCyJWYdZR4QMaiQuzlKLQwUYpIIVYn3PjUKsxBfYUMxurLI006SpKSkhKskSY1weeC3DxdQ09mskoznM03NskJNhP5DUo1oiAnD34rD+e0S3NyD4oLi+H21GDzVqmCVRY3D/Shno33PULDw2dKZO5GzkZGgElUduuIjRZmkfz8UQhQR3G7Kn8vebNDaIuYUUfZLjpjqaRpAx0lJkbRQeWfyKrthGHkWotxU6Ryr+wQuG0SkfwIVO3BWQUxMUpUKRTQc5LYN9BWaRiKlUmIcO5J8SN2iZKepSI+kcnXrQNfcBZq87alba/g8QEsqC5X80dTAnO/G4NSIlaJEpFRqB9w069XXnlFt4GoZxQ/zjn7bKSkOvDc08+hqGMxTjz+BHz2+edYv2EjRowYjq2bNyAvrxCFxcW4V1o7hx91JN54/XWccuop+PiTT0RHSdETMmrcLjzz7LO61iMRGNOVuS/7lCmTMHTYcFHYrNi4fhN69+2Nr7/6SpvkZ5x5ujTbK7Bk8SL06dMPdhv7d7waL07WeeChB4M+th9wLniAUQJDHD+/7FI4pcD++dZb8Mc//gGPP/q4btSfkZmhzdn8okKdsLti5So96eSWW24RfbB+7mo4tAij0JCBpeLYUKLEI/paFwajcDFSjd8Duyhxefl5KN21O2ijHha/VVpZLth79kbGsP4oX7IMjrR0dBozFMvvfRROqyjdNndL6LwtglBGaQ5aglGi6ijkzFDwWDurV1KzHTEMj+tzaEcg0Ldnr4ChgM8sCiXHHykB98Hnt8O1eh1Kn3sDnuXrUP3tD1j9wBPaSuLyPDJJ2qhBcBTmwCZVbHthGgOMD1fiMw8K8vP1etDgwYEXfC+1wOCB4af0NxdR/fzyS9OhkQyMEBeJd/l/FyP3mFkaUMM8EtX19yVAdBvNPZt5jcyDZnaPH16RGNTsNzz1QkAFDLUbhqq/Xgr3zr26UwHXdg+48HQxlhfyF0tceEBvLTsjp4wJHGEWxk49yT+hVK8VPS88GU4v+5rC2QuS/Js0+WDe4Mgj5uMXv7waixcvxr/+cV/gvXz3r3fx+BNJmVC34SgORGQU9ldceOGFEWfQMwOiy6N9BEmAnMnj4RJl0FpTFXeCmMGTP36892FJdL+UVmGXTgUomjkZNp1TGoDu31HYAXmHTFQetftsSJG0q/ngC60So4Ps60eN3Yc19z4Gl51SPgokHIu++UbS3Yd3F36A//znURy/YAHOPvd8HHvssejWpQv++/iTtBiw34KIGBN2ZN1zzz0R15XUaTdhUHLmApTcEOawnhB4RK94+ZYcXDgvch8NP8PkfG30ALwyLvwxmLTD8LCqsEhG7f3gU4lYYs3AUFCc2yXLHU4HbFtLsfWVd+A2pQlXcfl37MHudz8OBCQB+IWxeLZxU2DcN2zapPerV6/Gerl/4pmn9fmZZ57Buo0b8Y9/PRg1bxJFVJZvsElVgPkDZECfLXj5xWfx/FOP1b3Xk2qliuI9b6nO6MxuuZqJWwpZLR74RIkMfUei27prEOaDqLVKkCv954J4NRZxP2LESNwprQNVoxKgG3/5S5WYvOc8HI/fC5e00LjFiNXuCBSe4HvaoxJ91513Bg65DZpHI3dNLf70xz9p/DWprDZcdMklYe0mSkbaRaU4EJVRPJ7obfhYGbdY6k4eisuR54YI7wMZoNv/uwwl/0epFDWIYbHo669x+ZVXq+9cNj1vzhw9pS9SeGnOAct8HsYp9//3u9/HLI9ozyNS59LLLq8rWCrd5Ko8TRIDNwuOgOaOlBRcd911ooTHnl90RyKMe+O5LRB/LpjgkeYmwczgPha3jRyAWw7qqWbR4ZfEpBvJvJCUevV/L+DZp54MJDArEE2NONnfBG5n9cprr8EtTK++yD+73YncDjnIyM6Ez8vCIKyZ4sTO0t3N+JIBbosEDEwRP8WzgMTwwxHcii8QBgvO6FIUTLfIC6jYPDbIUHyNe8aLFO698Vx33wKInVH4PYMEPJb6NdEvAifUE9I0S3NiUGqKbukVCKymiQlMNbm4feh5wyVI69ldGCFogZcGdvnox+t3ZuCVv+YEqgKBT24CVRt9C/onZJGM4AJY9SJoRuLwmFsCcVrXzjiuuBi1Un14vG6U7tmLyrIKHWikfzaJT8BbC0qcTpzXuxNc/ILJL/N9Y/LhsM7FcHuFKeRxqas+bI1I4vDQ5u3iH7/mkSLmw5V9S5BNpjXZY/w0joI+vXrijNNOwyknnYDjjjkK1RUVOPmE43HCguMwfuwYXHjeuRg+ZDB69+yBSy66EJ2KCuvdm/xsQHEgYYnSGgpTKEI/wS3Rnn/ycfzj73cGTerht4r+IAlvJOwVPTuCx8GRER2SMf/ZtBlPb9+mI9h1DNvoA2QGPzaIPnL/6i1wakbWg1uqUcrZuZedMBsVXYs0bQOw4uUt26SKCz7GgmAYvFIl37ZyA8rMOqEJjNMKUV4f/M/DeOTx/+KpZ59DWmYGHn3iCfz3qafwyeef457778ciaSqvXLMGd919NzZzu7gWRLOqnmgI14NLI6+UOCMzA+DmoV68JtXWQ0O6N3jTHNy+ZitSW8qzIMgT3H7KI03vcq8DlbWUVpK5vni4o3lgupK4Zx/5zGPSI81M3dJoNUYJB/bNvPjs48jJatwcplj3RdklsinkZftQmOeQaqWJvogEMFjUroO614pEq08uDk+lp9lE3xE9zepRacedKP98eQHs/sibuzE7GUTuQnfYwU5cuMAOr+ovsXE1q/TLLr1YpKcNI4cOwf+eeyrQuhPwGIeaytZZ/hI7ozAwBgkMnSEaFhySgtduTReJETSIExE/wYSVl1oxBMO0e68VO3a5YdcJVl7c+8vOmnnG+9hJ1EtpAZ08RaQE9y8VsyWrge/Xcggssn+skpzOVFx7x07ROiQMYewEiKdhM4ROvPyhC/c8SR2F36mPS1SSOv+vd94t934UFhXBZrdqFdije3dND1rhP+pbDdyFoziQsERRxa4JxGKnKYSrwqJD7AsjXfA7btnqwwmznPDW1Oi9GQyaXzLLK1x8yXGpKMz3aY8nk8Rjd+Cx9ynSE5dwrQbhAKOX4fU338ERR50gQbZi7dp1uuVjWnpiI/FNwcjKmOejsPrQo9dV0WMmBrk4CHpI6tmnN9asXBWSPQ1Be7179dJeRtoLZF5kGFzdI+jGvCsa36Wn+TFk4AR8+nX9XlhGeAywXcTlIKtWrpCn6F9k7zTjGw3sfIs0zGHAYPZoTdVQH/ar0eMGCKY4xz84L5X3gbZ8/buAmUpHXQrJa+h7M/HdyjXCJKbn0PdmM9ojrRY3+p6ZbHpXIc2cTxcJkwTN1E7wnUFs1axYtSL4zP6chu/N5JamtPmZ+8mYn0keqd5CzUKJ6UUK984gc5jDEbcCpQJLYg8xn71kUJMdc1qFpmVYigOG9aYlSjucM0tGadiATRws9c3qnKLQoHPjuh+AemaLTFwyYDCKMXGJopaHpVGieoS7uQSAvvEdxz246Tr3eGMpsgVTTc2CGUFRyK3MNHPEL57NpffynlZ4bzxrVWdj8zOQAxz6N5Z5GP4QhnKtu0h55Gu0x34J8Z/2g6+1qmDYzOHhld3vnKTFWez8NgPCKjaUEY0UY6m2i/BW6WoCVx0wnQxQy/FxhDn4LQMMj5b6VkIgtQKIWPWIpZavekxgYhs1N9frsFOLCUFzJqQmilRRvBriOjShiIA9upeIBUVzgH0pqnn2kfgrGUhzmqk/Yh4OATuBxLHYbbAG6/jAGQOB8JHIBGpP7sOB/jNOjAurVsNfUt1WZgIbmTuEScJBC1CYaqc1maQ1EDujaBFoSKqAhTE3U0zNtAjUlFvJ+rDm8VKs/sQSF8MvXT9DSWJ6x2fu0p+fl4+c7BxJQBrWv+/apate6Qft8r57t+569XtFN+FOnXJPSktNU7/NYaeffNZlv0GzqBQHEpIoZnBP9/vv/qtURXaJHPDXO25Tc3dtrZALf/z9b/S5KbCA3X7rX5Cf3wGvvfKCRvjmmwJnQfBdVWVF3cKvWMDWQk1NNc48/bSgCVArVcJbr78UfGoanMH30ovP6vcpla78+eVqzu2R//voQ3ofCVmZmbjwgvMwfvw4/L+bbsQNv7gOkydNwqEzpkvml+CC885Tf9VvASXMhAljdSynY1ERJk4Yh3lz5+D4Bcdi6pTJuOCC82GndKRdqR6nidmll1yETsXFOP/cn6kb3V2CElPetzSMcMbcPNb6OwT33fM3HTbfXVaFBUfPx7PPvISOnYuxYfMWTJ44Bp98appSKTDrFgacwXGOvLxc3HXXnTjh+FNx3IJj8Oijj8LudCJTdKTKqoa7DEXbNDwjIx1le/ege/de2Lhpo+pRNqkC/vfSC5g1Z37QVgCsZtgUNjOikYl33P4nXHLFtcInVjzzxOM46pjjVJ8ho5x4yhlq14xwcdvXiKijCLWqMhsPaNv4iIFYE9P4Uqh7Ay2VKdRXDGU2GsLFJRShymxLgEpnXU6ZEBoe87P5PiKjiKVWVWaTiBGi/frAo9y88FgyJGOkBedzS8tNkl1aTbXSmrN4qE8wWwOZmyG6h1YdopOkOVlmqRAHBgH3JRJmFLuUQomikLQQpII1msHxoKRzF8yZOVN7SmcfOhOFouQde9RRKC4oDNpougQrpAk9Y9ohOGzOXG1Oz5w+A1npGZgxfXrQQuwYPWIE8nJE0RR/OGWR273zQMNx48YFbcQGztdxWZ1wW1JQY0mFzcOplKnw+DP1kCK/PwVOl02ZxQDjWil6FatCthqrXYG92CjxGs8ObJw28eeA+k3+lAaeXiPC8FurntCtuQwYOor2hLYAVKtvAb9ayh96wcxoqTAFbxIDg0C3xjVRmN1HiBZZb0/pdh74ulOqnm1S/W4RXY07Lu1xOByVcvU00lFIxmZ/Quki/jpI4nHLpALh8DwpqVLMwMrOKeZWktwnsR9CmIL1GEc9a+WeLYQ9wiQ7JU93Sj6XSouxXHTV6qKiInfoZn9EnUIrFpziIF0oQ6QL++4zxJM04TaaSwOCslHRHJ5PYt9A5YsIAp/kqUuoVvK4Sq4Vwizlcq2SV9TG6xRZ2g/NaGWW1atXW0X02MWBQziOEsZRU1Mj/tht9F/MkgyyH0OYwS9lXUmYxCv56ZYrJYwIE5e7S5cu3tANicNluGFGprGQaaSpZBEPLFJnJRnkAIMIBL/T6fRzt+pop0jEkvFJ5vjpoAFzJJFE3IhXWiSly4GDuKRHtIw33un1pptu0ockDhzcfPPNwbsGTBOWgcIxisEYlqVLl9ad17Njx45kv8kBhrS0NH9mZqYyRlPHoYUyCp/rWjuiCVv37Nljraqqsubm5ta1eqQlFeouif0IdrtdGYEtnoqKCp8wi08Egc/U8jGaxnUwZ7gyydSpU60LFy6MfeJHEi0K7vzNDZijwe9vPLUyHhjuOX7l9XoLXC6XV77LfhSPMI63V69evlBmMS9c0c62bdu2Wbds2aIHOxmBCQ2Y8ZyVlaWHCIULdCQ3SUQHzxvg0TdEtDQ8+eSTdUpDQUEBiouL9dAtn8+Hc845R+3xnhOZQsHVEWXrluGI40+U+9W0d19KSopVvmkRpuEcH39lZaVxqFMdzDlnpTSRq10kSvX8+fN1W0qO7PLULx6/wuNTeIJX165ddV3NN998g+OOOw6vvvqqRpAne9HeJ598go0bN+Koo47Cs88+i9GjR+t25O+9917dehV2BLbUcWcHEgyJwtO9JAOxaNEiNWfm5+Tk1M1iM8DjbXjKGsF0NvbdYzqHzq9hunPm4Tf/uR2jzr4WEyZMYEEfI8xSnZ6eXlFdXV0l36iWasg1ePBgr1mqGIyi0oSjx1J/Ob7//nvNQXOAiHDczcgYR5MZZmaYzcz3ZLCnnw5sK5VEPWKtevr3768SffPmzXoEH/PgoIMOUrdkFh6hU15eroWRQ3OUFpQSf73zTgy27sZl9z+HVKeD7uaKf2XCWHslb/ZKga6UQlwj+cpDnTjW05hRxGO7SIQUYZQGM9xojTPSk2h9MPOZwVEhjCIlLviQOEaNGo2aqoqTRaKUCrPwmLjdcl8mVCWM4woOCpJR/HWMwkPm5UpGkaovrcGOvn57qnIUXSTZpR7xpEdbph2/RUT9nljq2b07li9bfKEwCacYcEOVHVKjlAqTVIpkqg0epU7vTPs4CEQMWUSZUf85zzLSXEuKPk5qppgjUazR7KeG/aHQTJ00SfUY6iuhakEQ6WLOzfIdcrVLC8hmdH+wm4RXoo5RpC5TQ8l0vXLScriJy1RCd+3aiZtuuB5PPPoQ/vvIQ7j+2iuVYczMUlNVjX69e2Nw/wHIEEX38HnzkCla+oA+feGSQJ9/zs/Qs2uJTnvsUdINXTp2lPsijBg6VE8W4zRET60LF51/ftDHJBLBHm5BJoX6lBNPlLQdhmFDhmDo4CHBt8IAVqtOIyGTCKyim7D1o7MFAjYCiKu3lbMqA/WnTQ+GJDIzM5Cnp37ZsKe0XgljK4gHUS5fsQIDBw7E++8vFInl0r3quR35U089jU2iiJHpDpk2VZS4XGRnZSqzVUvEqCR37FiMBx+Mvn4miej4dvH3ksa78OQzz+Drb7+R58X4bsni4FutHYRXrFbRS6xy34A5zGjEKOIgvGVhEkoNnRPq9+Hxx9/UzOTaGi5MoiOKNp9XWlQULHL/5deL4JZqidcy0b55//Gnn+kyz93C6S559vj8+PfD/9EDJ7lP2TfffS/v7TqtaufuUlSxT4H+7ecU08q9FiJ+q6nvGZkseVbHA2SUSPkfUaKIg4h6hzRy8errD+taGDKH2RZP/Ca4Ku7Siy9SOy6pRugXz7QT5q1bcEW3JIJLFow+FgPdS0p04VYSrQqdsch8ioaIucA2+RCpz8LDj1deelUznzqL1GdBc+XQ4B3Qu3cvHH/cMUhPy8Qw8a+j6CHc7vK0U07GiccfJ/cLcJ7oKuefe7bqQ9RL+vfuq24HDxqItevWR2TWJNoWdRJo1KhRdinRdtGOMzhlP2iu0Oax5BerHsLt8eL6qy/T7mN29LDT5/5/PiJvfHDYHXrYECUST+vm1ubibV2Gz5p5KHaVluLjjz5Rc5VI8orbSPCG7mENLHqgC+OaRMuC6cp931auWMrhmq0i5bnJ/lYhLt0ok5qhZsSIEXVH7scl16mTEH6/F8JYGDt2LEaOHImePblbNf2DMgnB6oUZzNNFNaMpaYTeeOttfPXV10gRZZjbSwS2mbBqtaMngQW3kjCYI8kk7QMRGYUSgP0jZnAQihBFGTk52boQ3G7nFprsq7NG7HdJom1AbdHG8ih5ZxDzkasWqesZlIjWF9HNrFmzdFAvFByLyEhPxbwjjsP4gw/BvMOPxVXX/QrZOZk68Gdg0IAB6Cw6SZa0irTLVwKY6nDqB7mTkTMlYHfY8GF6Fh63b0gR6eMUyUJ0L+mqhz3zjECux+V77qNKUCfiOz4bp7sP6N8P1bU16DegP7KEiWvdtUpdO3fW962B9ibteEp9SkqqSvvx48drQc/PzcXMWTNV6g8dOlRrAB5oHi8Ccl6uTeoovAoZDpoCtWgquhzxpKLqdbl15yFmOjPaKlKoRvSb3A652LN3D9KEyQYOHITvpY3PDjm2irhQe/bs2Vi4cKEu1KZ/7GFkKWGznEf128Qf+leUV6gntlPXoVu+8/o84saFiqrWOck0nvSIx26iYLooqPeJjkg9kVulcR0z33GLMIZE01Zu2YUfq44SE6MMPGiEbpHQXiFqM6xdxsNnFekSkht2VzV8Wz8OPkUHE9MVXBgeCUZeREJgtWZ0NOUH9fpIsFh9wgfRKw9uGRAVFq/okDYUFhbgww/ebTlGScsOnGOTRFuBqR0pxZtmxACiMZP4IcyaITrn1i3rm9fq4TS5MWPGBJ+SaFtQ5DB/wlGsCOfWoPgRkVG++OILpSSSICIyChWhxqD19kIGwr3b38modsK9i4daDrHrKCINq6oCk37bB3zB/dKiK5/7J/xIT09rkfS22QLTVUPBjE9vCR2lS5cuwTszzPVcQ5LGV1jzUOKe0eHM4ycDHLyM7mesYWs/ZDSLwr2Ll1oGRjvK0rlzZ6tIEs5LcAp3XXviiSdqid2wYQMcKWnKgezDcNXU4KQTj0fXjp3hcdVg+PARcEpTi0sGOKGX+6hW7N2LObNnY8TwYfjm229x/bXX4OOPPkJKaqoKxF9ef6249WgHXWlw/CgRsNvf7fXgmCOOQMeOnVCQm4dDpx+CKVOmoE+PnujevbvuNbvg2KPRuVNndO/WCYMHDsLA/gPQv18fTD54Er748ksdbmhv0LhJehPjx47F/DlzcdTRR+oGxSVdu2pcL77wQj3B5NDpMzBkyGCsXL4chxwyFf369tUBVaoPjFu4kWHmJ79RUbH3XbmtsFgsnGjESfWcrVYr8HTq1Mm3dOlS5do4q572tX9qoOpp2JnGcwXZQxkJ7BDg2cm0wT0bA3V5ZPv7ChwOiZreEkcdUA0+GuBwqnkvOsnL1q16yG2k9g4eq+KzWuD2+7RS06NJwsBn9aLW60XPs49F2tihSO3TDVnzpsB5UL8WVvvaCGGYhGiRzQ/DIGIaaTVjmmfSXkHpYPX5dXolBawvZCCTUeSgWK8Tj0KKlK61/3wG1Z9/i9qV61Dxygdwfb8MlVY7ik+YC+P8niQaIyKjUFxxYNAM7g1PjuUxJu0WpozmLrjO7p3gcnux9rH/BU3rYcQizefBtidehaXWj44nz9cDCyLL2n0HrvKz+W3w1AYGR9NT0uHk/B0Bo82B1Kj9/81AxOQoKirCm2++GXwSSEi8Vh9yZkxE11/z8AAxYOjaEwk4TZN/brsfuQsOhX/NFthTRNaY7UUgS4oV2x97SQfPOi04TAzr34UjHQCJQGwlVErTtOTEecg7cgYKZk9B3typKDh8OoqPn4MeJx+BtIG94fVQignLhvFDqxHjXiRlenoGLDY/iooL4BdeKa+uhDMtRQquVENiZ93GTTj7Z2fpfbSwkeIt6hEZha2dSOC39JzG9ggJHAcws6Qq2f30W3DzVOs4YXNYsfXJl+HKzECVZE7dGdgxgNVcz1OPhNuRgmxhgg1PvILdL76NHW8sxO7X3sfOl97Btqdew9rHX0T1j2sgtR5chVnIGthfwho5+3gGEadgUGBImwM2KQjDhgzA7ENnwO0JtI7eeeNlfPbp53rf0miHAraZkDojY+wQVD36ujw0j5udlZVIr6pE79OO1dUFKq0igH05HedLVe2yYs0jL8DqqY2BwTgSbEHqjgqU/7AMTm8To74CaZHolRXMYnGz6LvvhHECc3umz5yHzZs31NlpSUSMyiGHHMKVYsGnhmAw2utxC7UOGyo/WyrN5JZLrDUPPaN6Wadj5sKbWt8SJNv4a1zodPw8PVF960tvwJeS+HcDHYOR4XK74BMJuYdrq+Tjl150EVb8uBxuX6DRccF554h+FTh5raURMbupo0T6IE3bsurpm56CF0cPYGFtBGZLVqeOyCgpQUav7kgVMRw4v7jlwPhahAG3PvuKcKILdmEKW3ZmYJaeVAdbnnwFzmZO2GHnmM8dUFIjgaemsp+EE9p5vevuu2FzOuo61O79xwPYU9HEAvcEEZFRnnjiCTz55JPBp8aIKFEkvbreeAk6HHJw0CAyrjjehpdvzY7aQUaIgJbMkaogTP4zGGVbtqJSdKryNevl+83LsFBwZl6K1QGHEI9rs3h88Fg88JZVwCVMY+Ek1WaCvayUWFbRPdorIjJKUzAKLUvC2Wec1qA0OLzMrKYzjFq9lXv3++rn2sYLfoW1zOFz52GmVJfsiGouPB4Pfn3DL5Bilwa2aJturxteIR6F4hMF1e9x4fxzzsUF5/4MVZWJ91b75TvXXHkldu/eo8pqe0ZERuEk6gaQzDBX+9oxJc9klMPnSx3tkww3vVfwWcglTMR5sMZzHYmkqEPoOzOZ8z7ce8H/XnkFb7/zjna4nX3aqcjOyg5vtwkq6dwZTpsNv/3tH1DrFvVVJAbLBIlNTrvTLmZO3PePf+D++/+JtJQUTJ86DX379G3kl5k07YT8Hi+OO24BJk2YKDxtxV9uvU38Ft9Ndg3S1U1hzJsibW2HmIWSOUljQURGMQb5IqGpKtlcsN+bMBjvTQo387sJTxIAS/2/Hn4EFWVlOOfsM+JqARx5+OHYuGmzVnVharlGoB2uo37nvfewasUKXWnwyMP/1h2QHKI7OKUqyUhPx2mnnop7/v53ZKRm6CDds089hQ8//lgCG5tAHzViOObPm6crCqZOnox5c+Zg5owZuOySS4I2Wh8RQ7ps2TL8+OOPwafG0A6dKDDyhwzFHlKeW9wYETwRMVxy4wWwpwXWESUCZuID/3pIZ6NffumlGqBIISDd+Ktf4cX//S9h1uX3PPKtU08/Cxu3bIZHdJtakR6VldV46D8P4fyLL0FVLTffi40Jzfh60Td4WSTmxs2b8f4HH+DV117DW2+/jbv+9regjdZHQjpKpMSMkO1R0NCnnOwsvPD0Y2JM7V6YK2jeHHA14l/vukur0osuvFB0DPotnxDG5c8hTDlPSuv//fa3LSbf7KLpsxPsmp494YBXms4WeKX6nSxhuKRXiXwnRb7c9Ne4RofkDFLoc6hZuPuWGthNiFGUIfxsu9dH1+ez4y+D+yArpWkpwPEKbsXhDRW9Ysa6lX6qvxavkE/sNW/bW/q1Z+9e/P2ee8Q/CzIzs5CbmwOH6Bdutxcvv/pqk1VprKDu9svBnYVbUnHr6jVwS1WYIvF0SPN6YWk57pKWmR01OL9bZ/hs0cdluHTEoNqQayi5w5iRQld7JoqEGIUYNcCHF+9IkxZB4Nnnd2Nwql0H2NxN+Fp40SnoceNFchc9d1w1Lrx8Wya8lU0zCksOOwmjtXrI1uwlL3JV47zsNNw+oB9+3qcEV/UuwR0jBmF8Tnpw9DmxZPEKU9w6vB9+t3SjMAOXrIWLH88steLe9Zsx2JaODjyZLwKXUr8yiFWn+RqN5F/D5xZA7Cki6W/oJYFPN3iQRwmUXOoe+drkRmGYySVgz7AtCL4zw5hgZI6sdosbdoNkFclT66mVVs/bAR9N79zS6kyVJvgv+3VFtkMa43YrVkk18Oe1W3Dxd9/h9tUbcOuq9bj8m6X4tKwKtWL/+t5dUKDfjD6YqHELksfnxs865uKab5Y3MDeooZn4LQn0o5T4UosbF3fvgqHcAcIqLUeTPU1RuV50wfk4bO4cTJl0MI4/7iicfcbpmHzwwTj/3HMwfOhBOPXkk1TJ7du7t9ibS/GuC//NfoVSfYrGhoSKDr/VFGJj5Mg+hStk/fv0wUtPP4Ha2hAJI1VZmmRqGo+G1XahVG9eGw7OtqOPw4Jaeff7FRux1xNYxK0I+bTB0GkWG/4ozLPDakGx3Yd7BvZDH2Eu4TCksstHqkK/UGC0RSBMd9fQQfA6UvHg1l0BsxjBb/Kzf1+7Gd9VVkqcw3e43X3ffXhZFNiFH32EN95+Dw88+KDcf4h77/8HFv/wAx5+9FG8u/B9LF+1Ei+9+ookhzXiBK5EkRCjxIIoNYAJkbnJEyZk7MFlv43cBQyCoF5QK2a1+s4CpzDEIXkOfFTmwbpaKZcxhaUh6GSb14cLf1iOlR7x1+ZGDQ+09vnhEEZ1iopWSx1LmsCXfrcUKa00DyQU3KOGTWwOr1iEmT0ejz7XmcWW8HGj1RglHoligQse7dmtj6QU5iiIHGwLpFnq9+CtvS28tIQZYPHIxQaPMwUup02YI2ogDyi0GqOEg0dKOrXw0KbhkKw0vDluCFwm7gonUeoROYOkvMPSynN9fV4LqkVS1QjFXdk3E5SqZp0tIGEDMN+3NFqNUcJJwOeffhyvv8xOLeOlKcIssCYGiFeiiCqC0bnZJpnUsvD5vTj/qDT0KLSLnlOLVGFGTm53SJh/f3meSJfExmqY6YW5op9EYX4D1NvsYvPKyy8VFcknYbDBLhKOyXjk/Pm672+gSdHyaDVGCV/1MDHMdXnkbI1LokiiZed4sd7GNUItm1Ccb3vrVYUiDR24//lKrN3hgd/qFP1AdAMJP/tJfnnnbpGGdhw21onR/XlAQeQwaP9RjR89ijy4+eIi2L3V2FmaKTFqOitYmDimdtttt2LSpAm45567MXr0UE3G5196CTZr6w0sxs4oEvdggyIE4TPbK4rWVSen4eyj2QHX2E7AJHKCBiRKpDllEmw6NUgUuV2lNmzfaYVfUjPNX97wfQLE7Vb/cHEurKKkXnXLTjilQcItycLZJfmttXj5Mxc+W+GFVxpl4yT/LjvRiStPScf5x2XjsIlO9O8iBcBdDr+0otZtc+Cmv22H15YeqEpC/COx5zjUbPjQYaJYO3VK5M9+dj569uiu5pQ2tEJo65sPUSh8ukZG7IxiAr/VFCxSXx462oIpI0VniOgicnBZeuKPjriwelFmzRUJkIgyy+9Z8OtLcoQx/Pjl3/bArtuNMfxNVw2ETfQXZ4oFn30L/PVxF257pAr3PVWGVz5yYdlGdgxmwm5jBRFLKjbGHbf/RUJowSeff44nnngUP/64Frfd8md9x40VWwsJMUos2UePE/LchIQS02eFQ5qw6aK0sKu8aQS+4REl+7YrOqBGOPQ3fyuT5wS/38qYOXOuXimFFpxwCr5d/B2uvPpaDemxC04WSRJ/4YoFzc3LqGhuMqvoTQheqcvTUe1Ox3nHZkg4gluYmmHxaedZepoXN5ydIwyWgqtv34NUnZHV/hjEQGxyreURJ6NQfZOqRBLT6veoqPN4gBSnQ0qgG3ZR8jy+Gjj8NvhsVtilWWC3U/FzwGZLQUqaUEo6rDavbnduszh1IpBdPLFZpEkrpdiemq7NPLtN/BSF0Z7ihNfP70mpl4y1i7+hVRkXpslH5E4YK8hbfot8w+HDA09XoyDLi7/9sjOyU9xw17iRYqvC7dd0Qe9iH6qqnPjdv8okLh7JhPbLIPsaRpGNeZH6QYMH4/slS9ScWcNJPo1KoIhFikZuNhwN3AeV/SqcHNxUSeFXjMDWut06CGgsUqe5w+oSf6wor7YEdj0MomEIyGJ+uN0uOINLHCIhLy9Pz0eMBvNBkdEwY8YMvP3228Gn8AiNf5OL1GME09a8rasBplk8i9SNFG207UXQXGHe9iIzKwu9evVCt+7dUFBYqAdSmpGfn6/vOuTmSQAdqKyoDL5pCGZErz69YZOIZGfnRD0ejZKrt9j1iOJQVVOts9jYVU1mYRc24ZWouL1WPYCxW9eu6NunD6qEiSoqK5WNSTbxhyPMXTp10uu3331X985MU6ZN0zhWSkYdecTh+Pb77xvZGT9xgm6Wl19YpNu2f/v94kZ2SNzd2+P1oHfv3ti6fTvcEl7z+569e+l1xLCh6N+vH9asXStPVHrrt70YN2aMnmCyp2yvbgeamZGBTh07inRO0TBGA7v2zQXHgBYu+UbLb3shVwbKcNAeEG7bi7YEUzDW9IjHLkGJwgOZjLEbSl7tJ5FHr1cKOZvUch+OCTRnBXQZSaLQUovsChketN6eiAhnvr9TY5ZShggai+DXjZjDMUlrwQhRcp/ZnxrilCgxMwpFHev85jJMS1YXLeVXoopjaHXCEk4xHy5MoXZbE+aqh2EKt+NSK1c9QUgdWTexSOpOrlUh2KytW5Dvk1aP3NNetATi6n+1I27VH/FbV80Zbk33kQQtZ9rzPSPPhWi8Z1gkwnVujGcyfPihiAD4PYI6gfFdg1QvCILhjhYvKtlG/ElMl8C9tLuCCvj+BCMdm2z1ENTYvbUunHji8XqQc9mevZgzZw6KRPNfu2YNLrrwfC3lM6ZPl1ZDTz0BjIc+nXLySdi+c6e2bKhpGy2V8885BxMnTsR2aQ2Q6ydKS6KgIF+Plac5n3v06KHKG/0666yzsHb1auwNtpDUL2GMiePH6hokHmK5p7QU/fr303UvFWKvtHQPzj/vXKRJHHbv2olTTzlFDzTKSEvF5i1b6lpPbGF4amtxzNFHw+1yobO0jIYNG4Zx48ZCtH906dJJWxqjR43G9m1b9ZSKvNxcpKSm1R2PZ7QwGL/5c+fJd7pJKzAPAwcO0AX/XAJz7LHHilkBVqxcGZiu2IogIzNM4Tb7I7iNRou3ekKrHpaOwHhMfDiQqp5QaNXjkKpHmvChYGonkFwJQXNWwO+1edXD7nTziCRdG/dJChDTKFC9hXkXxqy1iN9q6nvxMm3ryr6fMPT4PJNOYwb1pVCkBA+6ogRQd0G3Kg3knh12BlgVEkYfiwGejWQg9F1z0WxGYd3OOp5t+wsuOC9oCu1JvOSiC4NPsWHc2MBpHhPHj8PwoUP1nvvG8qTTY48+KlBaY4YPV13ecG2uoczGAm7q+7Mzz1ApMfPQGZg145DgG8AlukxTYeHh4Nz9OzMjEwX5+bqJMNcMUfcZNHAgusq7gjyp0oPgqr4hgwerHsTTXAsLC5EqLSiH6Bf0h3uiGEhLTdWjfotFNywUfYd+cziEJ9BzrTPDHn7n8cTRbEahB1abBf997BHce+/9yEwLHD756CMP4+6/3yN3sWWMVxRAdmOzrH308aei+P1Q11J56unnMG/e7LhKyQvPPYNb7/x7g/r573f9FZ4YDl4iVqxYgQceeBB+rx9vvfU23nz7PeG9QFy4Wq/xNqUN0b9fX8yfP1daZF7JvDRduD5hwnjt0u/cmYryUOwyjSXNmTVTGCoXgwYNUOWfEmTq1MnIEYabMmUyOhYXB21yWGAMunXrhrlzZ2PatCno2aMb5s0/DNukUcDec55ev3HjxqDtloGR8jEPChJkjoL8QtTUVovWXAFHqhM3//pGPPf8C/j04890r49fXHc13njjLXz1zTcNeMWsgJIROhYV6ZHwv/zlddi7pwy33/FXHZOpriyTa6r2SxgDb8b5gQbCKbNFBUXSSnJj/mFz8MXXi7D8x+W6ePyUU07A4488Ka3vWpF+zgaDcOGU2by8XPzx97/HORdchDGjRuJXv7wexxy7QKPCdcUcw+Y4lRlsXZAYXp1ELozNVgeZigOkfGaceTUkEt8TPXp0xxppOTJL+I4Zo4Oqcq9HvAVzSv0z+UFjI3kNv8yIpMzSXYvsXB0NdLl91w49Rp/3HObfJc+ffv41evXuDr/Otvfhi28XYbg0MSOBEWOz2SsR/vOfb9WZApxR5nV5cNBBw1T0Ej+/7JJGTBIJ23du13OVx40fj8VLf8SRRx6u++U//eSzUkVK89Wa1oBJImHXjp0477wL5LsOfPHVl5g1d640myMtE20MZpCRcXpsb1Aa0sxgIOM9sXbtOjGvf1c38s5nqdbN9vW9yZ75XWshyKeJ98xy814uROJGOZQOuyWTyPEsRR2lPt4pjGBGtCat+iUJwE3tWCJpl2CJsso3QhHNL/avdOnaBdu2bdM6vToolcIhnERxu9xwpqbodlypaam68IrMSn+1X0KCQ5Yxh4rM8ZNvHkcCmYRg5w2ZhCB3C9c1YpKmoH7JH6sbg0mIcEzSFDg1gUxCRGOSSOBGOOzxZXhYlRgSTeelRgtO/EGNCu0RbgdoXXn1E4bX5cLEceMxY9ohmHPoTEySqtAnUrerSNkR0qKbcvDBGNivX9A2cMiUKciWFlJPUVLnzZ6NmdOno6RzFxx88ET0kab2WaefrpJ6X8Hg/+SgYAI9s2GrHpGGDBPfURr4OTdMBLfPxglLIqX8XBckksnv1aUgNaJ/pIgBW1KUypwcTcnKKo/nRBswdJxYYAghuthnVY9PSkq6fJiDZ8MPGqpczy02OZgXN5poYsYK6jMGJJLBu8QQzn0kP6NlnSW1GG6/GxX5XeDvPhLW/CFw9pyNzJJDhSGKpNk4HJ6ScUjtGNhm9azTTscVl12GqSJZeEr8xIMn4PB5c/H/brwRvbp3Vzv7EkZc45IoxkgiN4SxcaaCbgPB56YzySwFcrNztD/h3YULkZfTAR07FqNnz1545bXXoudCEOpXVTVGjxypbpcuW4ZKHVA8GEuWLMaGzZtjkjiGRPHUujBz5ky5r8SmjZswVFpsPIqmvKIcn33+uYQpeqDMEqXWkinSwaVbZNh80pTWJAqWS4tH0jPQtPbba1tcDzG807xqQqJs27rhBikI26SwbRYlPaJEMWJexyjiIF3EXAMtNFn1xAZllP2v1fML0X22SZ5vFru87hQeKE+YUdjh1hILoijG46lvo0EH4VogTM3yh86C0aE/wZuWh+k7MSNKlOgVO9y2bF53jeTHdnncIhKFjLJLGKd89+7dtWF1lMzMTL9wHilQj4QBE6K5P51B30K/lgpTs/wRpjd+dWAGtTQR4cyjUQyQ8NcIcSDJLYXYI1WtTxjGL1WoX5ikzhcjdpYFCxZYy8vL7Tt27EgVEZTl8XhyxbxAPCkQD3KFMuWenQl20ZAt8mxKmST2F0ge+qTWoDBwyz3ryL2Sn7vlnrXILmGSPZUCqV1cX331FVsJynYNGGXJkiW2wsJCZ01NDUf2ssXDDsIQHeTK8et08dApz3bxlO6SjLL/QSWE5KHBKDVyXyH5WiZ5XCrPe6RGKZcGDXso3cIoxpzNBlLBKnoKGzQOET8poihmiONMqa8yxbMM8YwaEadJWuU5ySj7J5RRhCF8koeSvV6X1B7VUntUyrVcpEiFmFfn5eXVZmVl1ekn6ob/glCpsmjRIrvUT46MjIwUkSxpIopShVlSaCYe2skk4mmSSfZjCIP4pbx7JS8pMdzyXCOSpFoERI3kN3eapjSpq3aEGjIKaerUqdZNmzbZpMlIpnAK9zlIAqt4yMnXSf1kP4fkJxnFLwVestPnkWeuXVWqrq72DB482BuUJkQjRiHqmEWUWmt2dratrKzMJi0ia21trTKJMIu64QyuJPY/cIWDMIgyCls3FRUVPrZ0q6qqPDk5Ob5evXr5QpmECCcZlFmkGrJs377dQoYRkWQRBSec3ST2c4iK4RN91B9kkLqqxnRVRMp8s7kyDW/IOGqSxAGBoqIic1+JmTEaMAnRVMYnGeOnhUYMkkQSSSSRRBL7Bs1VQZIqTBJJHHhIWFWNVyCY7ev9TTfdhKVLlzbwJ9mITiKJ9g92jgRvFYMGDdLnm2++mZdQoRKTkIml4Bt2LIbwMAuMiooKS3V1taVbt251Znzmtba2Nhb/k0giiTYGZyiyOz74iPXr1+s9zTiDkfcUOBQyIQImqmCJVuCNd3VjPnygACksLLRSaMi9leM/HDD0eDwWDhrSTlZWloXPvCeMQUQOKKpBEkkk0Wbg4C+vHAhWgyA4IFxeXq5Tn3nvcDh0gJjXDh06+ChkDAFjGuqJKlgiFXA1F43EYmgkCxcuDGy1nUQSPyH4/X7k5ubq/gTR0L17d6xbty741BhSKHWfS4slsFOJFGJdLiYFuW4Xe4LvpUA3MqM9qaR1Sb9U0ME3saNfv35IT89AaelurF27Vv0cN24c/ewm/nnFf59805uamuoVZcGXkZHhpXCRuHt37NihkwtiESzGcj8zKEyMadbWbdu2WXNycmyrVq36VeA1MH/+fPTt2xcbNmzQxGYC8JiEQw89FCtXrtTdxZhoIhHZLtMjFWjn5JNP1ikz3AyUy624cRQTiolNM+57wM06eZ4F9ybi+/Hjx+u+R0OHDlXzkpISTVieVcEtZ5hQBQUF6pb7DzEjuOko9x5gGPltZnZxcTFVOEjiYMSIEbpZKcOYRBJNQQpTg/NTyFfke25Wa+xpJTV63Qay3FS3f//+aod8ycLLtaMUIMTkyZM5AwgHHXSQbh/FTWjJo127dtVyQH/Jy3RD94cddpiWE5Yx+ssywLIXCxYcvwBffPEF0rcvx9VnHotsCdsbH36GW2+9VcuDlJcHpeWQIoKK2xA55J7LJqzybasIPZ2iSHCTOApVli/uFyaKRuADIQgrUKiZSMGzUJiweSP3ti1bttwQfK9np1BQsJAOHDhQBUhpaalGmueWsMDq+SWVlZgyZYruRixSD5s2bVI3TMhFixZpAou/6sfgwYP1ngKEgoOFffr06So0mDGjRo1SISBqmGYwNz3h9ofM6FmzZmm4+A1mDIUGE4BCiPf87sEHH4yPPvpIw8UzWij4zLVAEklEglmgkBfJNyzQJAoLwixQyNcs/D/88EPde7NAIY9zu1AKDWob9JPvybsURny3fPly5XljQx5qJqygWclOmDBB77lAnm5YwOkXyx/fT5s2TSv3L7/8Ek6LDRddcgl2bduC8o1rMG7+8cjv2AW//vVNWmnL95+RMOrSGiGHfEe8sdskrJzOyqU2LIsWxq1jx45+Q6iceeaZ/vfff1/DZoa5yWPcN5gny4nV/Mgnn3xSFnyfRBI/GbBAscC3ZJNnX8BitcPh98BtEbnhc2k7hU2e2traEyVMLtFMaqSc10p8q+W+WloU1SI4akVwkVxih8t5PCJYvKbJ942aPhEFyurVq1U7Ee2CKpBDpHRgX7ZoEK3Jzx0dBfS9LZKOiyK5iaKBlvxuS8fB7F9rp08k/5vz3VjdJvoNs7tI97Eg0e9HAoUKEU0Y+IJ8GM6Gum7CD3OY+b1w9iLZMZtHQqgd3peIVrNq2eKLxC+qX9UUJnLlkY5Vcl8lWlMVBY1oLLUiYLiYlCq9p6KiwhuzQGFz57333tNlXxQoIqXYriLtUksSCUN1I9g3ohDVym/jzmOBxySSSKL1oYVWhIvX59NdjGMB3ZCoVS1ftvg6uaUwqZKyTWFSKVcexlMpGkslhQw1FmopFCpy7ykrK/OKbPCFdNBqyTeHQMMmlqyVlZWWqqoqi0gmq3jMIWFqKXUnPPH8V3Yesa1HNU/eiWvREqy2gCcRsLesDO6qatRKe9QVpNpqea6Wa20tauS+Rq4UUmwzRgJPT+BJDExIfk8Ho4UYGf2+mNNO0LjuPS82hlXeiwUlPVYsaGZ2Y5DZ3JCVDJnZTuj7JJJoK0iBx+BBA3H0UUdj3fr1eoLZxPHjkZ+Xi2FDh+rpZlMmT8akSQejc6fO+PHHH2GTskV+Zb/P7t07PmT5FfJJmeNuBV65eig4SPLsSUlJkdaODi35aI9NN5ZPaQr6Qztn6a8BvefoDps70layFhQUcDG6QzzlLgbRt56OoKF4fV6U7S1ToePx+nD1zy9BYWG+duRypIcjOEOGDFGtZ+OGDbjq2hvFLwbFp51hHF4LBQXS6FEjMWbMGHz44UfYsnmLbj3OTiY2gSh5eSzcqlUrUSUCjIdWv79wIbZt3YajjzkGK1eu0E5g9qBv2bJVO8+uv/5a3H77nbjiisuxZMkP4FEy7NB1uz0aRo4snX/+eXj2mWewZu06PRbv5ZdfErPzpW1cgcf/+99guJNIom3BssN9B7m5JMsZhYxe5ceqjs8GaE4uJbGcrFi+5P/kVps6Yo8bKZVLmS/nVbQS3SNH3FTJN7QvRey5I/Sj6EfMJUDvwwkUEU5O8azBdrONYAiU4CNRIQWNp5QYoJC76rILkV1QhN7SfsvKyoR8S0eFOCLEkZvzLrxck4Eb1SokmLkibSOBsTC+yVP47fbY1L5QSDw1Y5o8uCP4QeO75u/Hg0Td7S+IJX6tlQb7Q9o2FcZw72lmoFnxE4+oZVOgrFyx9PciMCqF/7WpIwJEBYqU93KakyhUpFxIA6K6SYESuV3RTHhEeJiFCeH3W8Ew3Xj9TXjwoX/rUBmbNxL4OmpUy8tjZQWbdvVIEXcdCwspoQInK2tUdMwL8+fORUm3En3ukJVNFUnvmwJVOAoT42TliDAFj/a4yTuvLb3fdBJJtBVEYJCrde80EoefE0XcAoVaBifmiOTS+SSRwLZcY/ilqdMZDz10Hy6+6OKA+hUUIPSX49vanxECHjVRDytGjRqtc0xuu+1WVeeOPnI+Zs2YJk2PanTr1hW5WTmYOmkSsrOz1M87xZ7TZsdlF1+M66+5SoSGB3ff9Vecc9aZ6FxcjN49esBTW41jjzoCxx9/tJ4odf01V6N8Txlu/csf5H1PTJM4G8hITUOmEPtmBkpzLVyYk0hiP0KLMXDcAoVaxLvvvqvNg294kGQE1I3+mGHxITMrTWcJcgIPJ6ZxjJ+gYFDhEqZw0pzvA/ChqrJCv3399b/U0zs5czEzk3sku7F163bRgqrw3Xffo7ZW2pbibu3aNZgxYzrKyvbijTfelmbd8Xj22Wexfv1GrFy7FuPHjsORRx4l7i3i7gdMO2Qq3n9/IU499WS89eY78IpQ+vTzzw1FSCfQkQh2JieVkySSCMBcevW+pfpQWJBDJwO53V7c9uc/oEuXjtrDbPRXUDix/4TT5K//1W9EgFDOBfpQKEwofLQ5FAYszI1FUENkpqXTI5RVBHqnWwKxfDcamuu+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tWosfxT548SVsAnB5RLa0BJlBraSjmdNf7WJo87OhkoaLmUKc9xDJTVr5Ad3RP8npEExEzmzXgD08qV/+i+MGE6NO7N/r176eJyk7eiooKXTho9E5T6PEAh+XLl2lfx9y587Q5tXHjBmzaslVXbH744Ydql+EZPnw4igsLNeO4qKugIB/Lli1XtykpTlgdDnz15Vd1AuSgwYOxbt1a9OvXHzt2bNcTUIklS5ao9kWNa+zYMXjzzbeQmZ2Fb7/9Tt+zv+XsM8+U8JYHhZYV23bs0KYhJxwRlFULjj0aX3/9NUYOG4ms7Ez1r2NxMb4Ss4yMTFRWVmD8uHFYv2GDuN2Lzdu2YNGib6IlWxL7IVJTUzBowECdPMqKiH2D3bv30L5HrtpnV8BXX31Vt/qXZpzfRb5avXoVpkyZqgtuOc+LC3S1z1PekYtJ7UaghEUsAqWNYOgaxoCxuaHT1CByA7uqTVjEjTmZ6mHYZZQNG3Up2wx4rNnwS3rGMhTtp5Dz18Dmq4oQyiQOZDDPSfHwneGmXQsUm90BZ1qWFIJYo5VEKCjsOCOAgkqnBgT+moDY8PO0ehFATYrL+GFoZc2BMGSA22JhDX7ObC/4HK0JGgsYhkRBl5a66iPOcEgNyzmrbMbHFP8IYDawqyBRsP8yFJypvnXL+n3bKcuM4V4jVLcYIAOaXxJp1phJSoxYeA2FVG71rmlIwnOVqzBuOD+bSxRRzSX6oxEKrp+KSqH2gs/h/I2HQuMVDzEMfk3fBEh+/H7M8Y9ADIfP4guS+BknhcanJSqKcIhboDAg3DGK/Q7si0giiZ8WzBVyLNQaCPedpqhtELdAIdhh+MEHH+iua9FB75PUkEIRzk6S2ieF1urh7LQltT+YU0jvE+1DsdocSMnIquuUdbk5PEX1qqUiTo+bo6Y1131zYHybV582G42VoS5347btTw1sFgRyxpw/+zK/wkDyjD+bjVtn2HWpiNeXeBibF7t61+QlmxSxeNbf0CWJq/lbug/FHCe9b7ZACT5zyJUdUeYPtAaalzGJw/huot9n/xOZgel0ICKWdGmtvGtNnuCSEhKH8jkNING+iKbCGO49zQyY30nZjDhnKyzEI1bzrSFQ4lYfKJlF6OjkNu5Qz0LRFGorK3Wx3dVXXI7sjDQdJ+/ZswdSUx0o6dJZF+hRwpLGjByJY448Ail2B7p3LUF+hw5KaWlOpKU6tTP4iPnzkZeTI8+p6JCdrSuEuXjv4gvOR9dOneFzezCwX39NaG4CdcWll+pmTqeffgoy0tNQ0rWrrkSeOX16oPd9H4Mh8Em6nv+zs9Gre4mELQtX/fznKMwvQF5uLgoLCnRn/8K8PF1GwL1cGDfJZOSLWc9u3eGUmvNXv7hO06pDZrYwvV3n0GRlponbXBQVFupiyUx5zspMR66k2yknn4SC/PyY8jCJpnHIlCnKi0ccebgWeI7JWHw+/PF3v1V+5vZjurmRCCFu9MVyYF5Y2qVz54AdMbML+YUnRo8YofmuZYTv2nlWmQWd3seioVA6E5ogQnrfhIaibuSBk9nsIuHd0iRKTUlVAUVVkn+GX7RrqHBc58NZtZY6n8Sq+Eu7zBhue8c3nMzGDZE4VZ87lHP7BKd8x6hFNBPFLv3mlf6yYK5ctbKB37GC+UpXxjVehNNQdLsHJgXTjXGTOEotoELi008/ZVUkr6niyjWYBiTeK8nPI8KU8SN45QRCpmVgTo1V08VgYprxO6xxeW1JxJIuiaZdU2gtf4loGgp5mebMC4LpTbvkNb5zOJ0qMDrkZGu+V1RUwpGaopuQMdB0x64CNodp3ykVQq+evbBk6VLlZULzX5pcumNhEMzn9qKhmNNd72MRKAYjMgGYaMRPtcmTKNqqycMajfnF2o7roq3pqZp37hphXLcwJxmVjXCNkQ5wtgj2Vb4QrfntaAKltcF4GTB/tT0JlIA0iBMUIkxIQ5gk0UyIYOFU/Jze/ZE5ZBgKx46HtXN35I+cgEmTJotWF9AIY4HVZ5Eaz4qOh0xB0YLZqM3JFKEiBUCaQKwhnW7RVDw+pFgd8Kfa4ee8hnQnihfMQuHsSXDLs8cigqblZEsSPyEkLBGoRrMfJYkWgApnC/auWoaKxd9ix+efwrd5HXZ/9Qlc1VWByUgRwXci4KWW6n7mcfB0yIFDNI2t7y7E9qdeh72sAh67NDP5DbHpF+uczWwVwcFGpUW+a62qxranXsOWNz6EU4RRSq2YTRyKrqceDm9eFqxubwvqLkkcyIhboLA9yI2ZuSAp3MlhZtiEOa1eK9KHDELhkYci55iZyB41XGvkJOJAaHLJM3eL84vikjNlNDKG9pF7N9Y++BSsZXsgyZ4Q7OIvBY7XKXrtp99h08Mvw76rAm5qT8MGo/CEOfDmpIsWRIviIDRcbQHzd+uuciNaFzvjvS43fLVueA3is5j7RCj6uRjVK8112g/1x7hvCYhfeXm5+Muffov5c2fD4rUgNzsHd9z6Z5x26qna1O3bqyf+9Pv/wwTRRh958N9IS00LOhbI+wF9++GIw+Zi2pSD8fwzT7X7zlgDcbMe94G977778PHHH4dv8hiZIxSYJiy1Y1EOUg/qh+yBA+HoWijvxJ1SQ/uJkM572QfU3O9qR3AY8wakEJumAsCLQzSIjsfPg1W0kbKFX6LyO3Ys28ReDH7GQWwOaSeg046Kb5Zi6xNvwLanGn6bHfnzpiFrwnD4vbQYsG9Ok5bOF8M/r8eCDoeMRfefLRCe6sONg0V7Cqxi4giKzSGVmFOuQna5t9ut8NslDbnSUrQ0bu/ppkcpDlhys+Ho1wP5x8wQ/46GP7dDg/g0RZHykKViz47duOnXv5MyYhOLPuzZuwd/+MNf4HRIHFw+3P33u3DtL27EJ599ipNOOx3/euB+eGqkhqAf4u+Py5fj+RdfxiuvvYPt29l9KVqovDMo9JvxkIS61RC3QGkOGBHWrMlNnRMD06xw5iHw5HXAzsdfgb+8PLDkyx8o+K0JFSzyHb3zebHrtbex97NvYLNYkT12GPLmHQKvrWVZlTW5PyUFXU49GiljhmphsDv8KH/3Y6x/4ClUL14JlJYLE0sTjvvraAWnA6965YptEn88itPCvj+7TZp6Yq/WA3+paF/L1mHXs29j3b+eh2X3XnHmQXWKBT3PPQ7e9Dg6Ok3QVOK3+MBskcrT4meY5EGuDhF0s+fMxcwZ0/CrG65BVrpTt8EIraApIDNTU/DWW29h6LAhQdP2jYQECnu42fThkGS8YCJrGutTEk2B6WUXJrQM7A7rkD7Y9cZ78FdKs0b7VaRupvayL+CzSdOHFYQfZZ9/i92vvgNbrRTsggJ0PO1IpA3oKU0laYKIFNQKRGKiea+lrB4BpSpgaBVB5UlNRcHsycg/bIpOMfB5qrHp0RdR88V3mhiMrui8yj9aUycMOg4ISIWmo4TE70CaxGP1A8/AqoMazQTzSeMo/ut9YKFjx85d8cEHn+Df/34E/3jgQZx//oWSFn4cddSR6ozXjIx0pGek4eBJE7F50yY1b+8I5GQAet/UsDHHxy+++GIdiqRQ+fe//y1pZKkfNg7mD4dDWcMwo7IPnYiciSPknajOS35A6TNvacJSpT5gIBH3eznPpVr7MGyimtulcDCO4RifO3AxDTWdJOU5OuOXkif/pcAE6liLFNoxo4fjU1GLLZK+fiubP3QdxsN2AsaFYVTx4fXAJzVs+mA2d3tJ+XWjZvlG1O6t0qFOZ1EeMvt2QXnZXtR+uwYVK1bBIaJHkjFsmrUpJG8UIVqDediY/B8NLFCRomG8C4hZ3je0aXYbsBHZr3iHjekfqV0MGzPw99xzj/ajGMIkHuiXxQkpHtQIY7pSrahOc0rBYnFrHqx+Dwb1sWP22FTMHufEoK5S66lamiAkQn2ynXj74GF4a/wwvD5tpOQahUkMEZVEcUt1n5KTBWRmwJ/q5M7asGakyCubaAGSTeKN9qUE8q3dgAxE8lu9Sj4hr000DWk6+O1W2Nwe1HyzFNsffwnbnngdexctQc3qNahcsRKlH32OjQ8+hz3PvoPqVWtUxacw3hfCxIgH0/hvf70zMD8nRJjEi2jRMN5RkIQKE8JswvtofrUnmEuQcv7gwYMtpaWlltraWkt6ejoP/rGRpH1Xd7YxhYhBBixSyO3OlDppSgluIKVXCVJLOsk7K1w7dsK1dLXcU0OpTyYqK4GajUOa/N8Q3U8/GsWzpiH34FE6O7ZmzYbgm8Tgk4J+6iyhOU6MHyKCqhb44kfGLXGtKc9px2GFHfSe7fVHN23nnT6Hgp3bkq6aTrTBJoGnplbniDh8oqm4PFJbA0XFBdi4cVOj9vW+AgUkR0w423PsmNGimh+OE088AdOnTsfwocMxZsRoTJ5wMObPOQxHH3kEZs6cgREjhqNPn97IycqE3WYNnGFdJVoK+zUk5mY+aCsE0lwgeeCw23HRRRfoEoWly1bgtddfD2jXYcAKlUTtktp6ewB5w5hZHgsYdxI1rYqKvR/ILQsrtQ8l8Y8HYbmkfLtJfC/+C6tymAw+kQ1+0Vj8CZ9tHDpTNhwizpQVyp5R3+QpZ5PnuUCTJ9CG5ZnHbrz+8otwceahiJK5RxwjKpzpSFDJ2y5nHwdnp2J4hAvKP1qEPe9+bLxqEIlY4Zf2/RUnUjuhqujH8+/5cM/zXolHbP1CxnfN1z7pqfj7oB4Sb3mQDJ732eKI4Ys0U5ZmBjOznI0bOxYff/qp7iO6bfsOddemskXCwM9Rvf/jH/+AN998E2+88SZSJK7RUj5SvA3ovsTCnxMmjMe0aYdoAb333ntRydMJ4igc4RD6bWMAgAMCHpcbeR064CJptguP41+iZfOAfs7HiQUtNVO2qfQJ9z4YDYX5HQXcfjtTlgnJEwO5szaZIBGwM4/Ukii0OfHa6P7436g+eH3sMNhFYEQFh61VoLUvkEFZ4xgUyH2LFjQubGSYRwwdirvuELWc2afZ2DpgQZwyaRIOP3w+bHYbfnXTTXj/ww9FmDAciRUkA1ow01Lx1Tff4NY7bsft0syolgJKfzsXd8Rtf/kLjj3qaNHa3LBpXjUNCmDtABaJzvknXTt1wpWXX4a/it9TpkzRhZVM3zJJyz/+5c+45/77UOt2xSxMmkLPbt0weMBA0bYlEF4f0hyBtTs0Z7hobhx1a5H3vbr3CLo8cBC3QKE0/P777/WQcy5cSwRsJyc6+SocAk0lrxYwDgr6rR7xnw2GKNCmTXyB8Dn8GHjTpeh546Xo99urYEtJE+ZowYg0AZ3VKkJm0Xff4dKfX64jLCwK999zL4ryCyjtW0TAUHM449RTMWBAf3zw4Qd44aWXdCZuq0MiYxXBtXnbVlx5zTV45vnnYE91wO336GJSrsIdPLAvZkybjPnzZmPW9GnSxBqKgtwO8NS64OXkNWEs5qzN6cDGLVtw251/xSWXX473Plio5zPZHM3TfqKBO8z/8MOPyJXwcGJbmjTxuPR1y3Zp+krecfU3BVqaCNLi4mI9tYHPBxLiLg1GAvDYirVr1+p9vEhIQ2nphI9BQ3EK8x02dw7mzpqBOTNnw+61gnvL8wwhF1eIihdsgu0rsGnkl2Q578ILsH3HDm1iXnv1lThxwQK4qmu0JowFas/rRaeiIvzlj3/SpsFDjzyCpcuWif/7nuEpRB1cgSvxW/LDCrzz3kK8+OobeOm1t1C+fAXmZ6bg6kE9cV3/7riid0f8vHcnHNGxGF2tqXBJvFqzp8PoVOWvWoSeVyqqXXv3BGj3roB5TbWE3Rd870eFPG/duR01HpfkWWAOUeivoc/1P5qHvmtPaNPiwKiTeZvWUISJycdmXg72K7Ql0lLTccmFF+LCc36G8889R2sbFjYleb8PghQZ1F6kGfHnW2/Df596Ck6podlGnnHIwfjzH3+D666+GpMnTERnERqFUnsOk2br+eeei7/efjumT5+hu5Bt3rYN11x/nWqhbQFz9jYNbtLsx/iMNFzXqwfyRJLb7V78UFmNh9dvwx2rNuEvazbitrWbccearXhx6zas81fBYbEhXdLmxKJs/LZ/fzilUFMI27SjK3GwEzQjI0uaoW1HmWHMMtIz4+s/aWW0qUAhA7EwTujtwvN3ZuKFO3Nw+3W5qPV6tNlCcJjU47XgtYlD8PLIfnh1bG/kt0B6cdSk189OQe9fXIA+110AZ59u8i2JfoJ8xZrBV1uKl+4owvO350pcCuGq3Skvml8YDS3Qrn0oOh6mz3FBhEKl1IRvv/sRrr3+1/jTLbfhg08+wSbRLHfs2o1vpdl673334edXXor333lHUkK+ZUsRjUuaiiIpWW+2B1ADdHjc+PuIg4Qz/Pi40oU/rl6DPTavaC6BUUXyVDiw74Uj7rUiPP67vQw3Lf0RVSkOOGus+OvQXujHrqAEVUz2JVZWlqOqqqLNqNJE9eaVTc6HaUsklprNgh9um1+YxAuLz40Ur1uunPloMLDU/RYKGE5Xtkqb2CHNI4eoipyrEbSSANjbUOkQYWW1wSXtdKt80yfqEmurREBnXn8aHP4K2P21cHK3EV+aJGjzFWxtygi5vaoHyX1sgaQtpmKtpG22zYIZHfJwRfcuuGnQAJzSqQBdU0VYVLtQLZa8UgqtUtp8fjtqJR1qLJIf4s7uc0k6e+B3WZEhzYWTSgrwu969MT4vC24281qy8ysKrPLtEin8v+nXEy7hg4sXfS/pQLHH9E0sDFwaYJd4u1N8uOT7tVhWZUOt8NpZPYpwYRfuiOYJjNAlAnFXkF8gzeHAVhQcUuZMX2545ZN8JFEIcbpAb0lP7tCnM4HFnHlN+xyVVXdCNOeVa4/UH/aPCXjCJZc7tFe0fMiYIUFSrYMUBG/Dt+sTKNVBv/kNQ7tpCPEzaEfJhKhfM7sJcRcKCkFqE5H841DvkfMPxxHzD8Oh0qwgYxj+qivzd9TMjxzJkim5+egqkZpaVKAdeIoQuyqARdDUCMONlmbAHwf1xLziHKSLgsSO6XJhxndLd+L2tZtw85If8ejm7dgowsSS6kSahNkm/tMr/qvr0xKhQj8dIsBtDj8qRfg+vmEnbli5Cp/v3i1xtSPN78Ksgiz8blAvzCnMhbVGBJC2/RrGpy7vQyjcAkZ1LuYszDnSRLl1UH90S8vAGpcbN/+4StffqKWg/aYo0rfNpHknwilFtMB/r9mOuzdvhosd+lKQB2WmStyytVCb3YSSOQ/Z7Ehx2DF4QH/0LCnBiKHDdHvSKZMOxqGHTMFFF5yHyRMnorqiUsqAH9OnTcO8ObMxcfx43Yp02JAhep0pfHL0EYejS8eO6NOzF8aNHo0+vXpi9qGHSh75MWTQ4MDoqikc8VIkfm0JtKmoY0Qiqaf7EygUGQ3O7GTtEg4Wvw9FBQU484yTcdYZp+L4Y46UphxLbWT4xNdyYZaFu3dhk2TNh9t2obqqfl6MwROd7R78ffgQFNstSBUh8FVFDX6xZB1e3boX1VKR2UUDZG3OVbjNRjB6Pr9DV9BUW+14Y0c5bly8Bq9v3wOvCKgUrx92KcUFIoBm5mfh17274x9jD8Kdw/riip4dcWJRIaZ3yMDQDDsGpdkxMsuOufm5uLJnCR4YPww/79ERXewizESDKBNV9GoRgGtcNaJNMB3bhkW5zIH5arNZsbS8Bq9JEykwbB8bOCeF52b/sGw51m3ciO8WL0Z5ZSU+/vQzvPP+h7j3/gfwyWef6wzcFatW472FH+D1N9/Cp59/jrfeeReLl/6Ad99/H++89x5efOkVHRlas24dPv/qK7mul6breyJzLfq+PaNNBUp7B4WEQdHgDaYaa4qYh/10mDq6QGHNWidwea+SyycFy4ZUUSFuHzkYFncNtnnsuPDb5XKlf4HmIns9ovvestDT6OSnYZZCyKDslCbRm7vKcfPqdTj38+9x+XfLceu6bXhsx068vbcS31V5sUQk3lcVHry2q1TercPZn3+LO9duxSaPNGdEMPmlCULdQbWMJPY7HOACJRbxEADX0gyWGvSJkQOE+uOug3rDreM6jZEYs8celkawuFAjNfcVixbDy429xcjmi3+ld1uhLn2kGUM1nSq+Ch6KIItb7nnn020mrXIfOCqzLcVhEq2FA1ageDwePHDf3fjn/ffiPw/+C5kZGcE34cH+C27CkyUpkmm1IFNLRXgBwFeBN+IqQpOnEdh3EKNAcYjW43d4JQxuuKRJ47XYxClrbct+sdcrFStqcTaOePmsyE6rxRWnZ+Cfvy7CVSel4aRZqTh+RgrOP9qK26/Kwx8uLUaPjpyY5pZkYjwdmh9tCxvc0uySxpukNUV288Ccrq2pwYvPP1NHzz3zBM4+8wxJExGoXjfuuO0WPPH4f3QxIpci0A0LJLeV8XlduPOOv6CmmsPcbZ0WieOA1lA6dMhCXl4W8vNzpD0cW2Emmso+FpaAHRFCLdjk8fvs6N7FiuIiD3KErzv3TtdRif0BPklfj9+DkiIf7vxFHo49OEWaQRXKYWXVTtz+cBXOvXk7bnvMjcffcOHJt9245zngilv24Ia/7sC6LSnav+B3uXHGkTbccG4mOqR7dbWy10qBKppMM7mVwsqvvc+Sbxw5lLR1pAEzR1lw/83F6F9QI69cQvK9ZoL8kZKaiiOOOlbppJNOweLFi/HAgw8Kz/hx4YUX4OKLL8Ixx5+Eiy+/TJci0A1DFxjds6FTUXHAo/0I+6dAYeFkOePGQ0JuCFf4nYF3bQDtLNS7eDQUMmn05LZYPVi3yY+N2+xSCO1YvtKtQ7t+qTA7FwS+aFNNZ9+DhcIlzZl+XS34/cXZGNPbI2qhExt22HHpH/fg+Q9qYbEF1h4FM4vOIoDvAvGyOux48MUa/PaBKuyptqHab0WvvFpcf3Y+fnFaGg6b7ED3TuwMr0ZtpU+0AKFaoKrWi+qqaq35szJ86NHJgtEDrTjsYOCCo7Nx7cmpuPG8DPz8tHyMH2GH118uioIX7hoL3vzKj/Nu2ozVWzMkXi1dJESrtFnxt7v+hl/d9ButgI468ih07Voi93ZdUvDYQ/9qMJeEncFNpVh7RcsLFKZEkEK1fCYQ1eHGiC/pOBqy4JAUvHqHE6/cnoJHfuuAx+YyfyoqmptRVBpYTLRTkrVewDg2BNOEbo37hkTzICnkanVIQXXhrhsK4arhhkxiUe3I6zYi1ux+m9TgHh/+cHke5h0szQMpfD9u9uOXd5fhq5XcvoKpQmkrdsP4EUpR7QRT1ZlixbpddvzxX6X408PVePlDN9Zt5TfS4Ei3yjeFHNwi1oaUNBFgNgfKqmxYuxX48kc/Xv4YuPf5Mvz5cRFS91fgzodL8ek3XljtqaIVkP0TT8fIeWgiwb8euA8nn3KG8gqNnnjmGbnnbFsLUqx2VEmeShtHV9urnwrjGoTYZ3oZ1OAbcVKIzy2KNtVQGJ+W0OAplJioATm+7xBgjzaA1Q2bCJWL/7QOaZk+3CGCxeOySy3NEZ7WgVUS2CMaU7oIjT9clo7jZvjhqC2Ez+nGL/66Gy9/ZJfCEFg5uy/AAslRXa4SMIjPNA8UGYP2LajJnXnmOUhNq1+UyMltv7zxJhV+VqcD555/CRzSPHKmBqeEMw4SoQUnnYrUDGfb8VkLoE0FShLNg9WbDrcvA5f9fotI5mr89ap0dC+u1YO9AjpTorByjqgueJwszYFbL8/FqEFSV1ZxMaRPBEgVnnnLBo+jXARI+1k3sj9AxZpVtNiApKtH8Nnogwu98n0882DaC9o0xEzclqjRqOVQ429OEWoJ1KunbQd+k6Mn9lQnLr+tDOu3ZCArowa/OisXJ85zwFVdKQLGtDmVGRJcTX9qH1VujBOh8TsRHkdPlQrR4gF3h//4azeuurMUX/wAqTWFPVoxisGi85NEU3HfX9PGHG69b9kd20Qy+3wYP2IENqxfB69IarvHD5eoc1yY57NVw8Y1NVxH4uf+JdyDlVsCsuMzsNakNtWGdLdf1e8UjwWdenTDmnVrpQSIKmhlR5ZHvpEp771Ilff8vku+w4Jj1d3rxET8ZE+HvEaGwxkcLeD6CRu69MzDeglbmi8bbnnv8Iu5XLk3KmdP0p1RaXg1nFz1GjBw8D17522BjYEcHifcTgmaSDoW/FT5fG2aRTtSi4s74o033qhbGRp2xzYJMztmOxXWoqrah0G9OqIG3fDpF9+KBtxw5EH7brRDuGGd4JWf02tHWroX+VlV6NXViYysdJRXuiUPfNhRYcEe7k4vYeTuMUzrevhi6mSu/3ZsoF2teYUafE7AyYFGTUwfjffm+0io8zd4T9TV8M2A2Y9QLaGldmxLBOYUN3+VK5/ZjIoZ4hFj1W4OSw+HaIelZwS3c7RLG5GZwMJBc0aKNsorGZfIyM/P1x24NCOFAdPTuQjPgozMTOwtL9ONbeJBbm4ufMIQnDrPXn1mBv3OzMzA3ooK3fimKTD1zIlH0I8OOTlIFaFVWlqqe98yHfr07o1N27Ziz549dQwaTqAY/ax+EVw690A0kezsHOwp3dP4Y7RLwSkvQl8ZCDC7CEifX4RKJqoknbmwjIvX4keg8PLgKo5acCEbR0mYfnHNGBbQHcE9Ttxuj7jlgjrqmxwRaSg4o0PEtqQhZQmv3bp1w4YN3GuY8YuxyUD3QX9o3x0UcIHwsCujYXiiCRQWbC4GJFRQSjpxgR/9M+wxrAyf2hU/4kk3c66ZXR3YAiUYaxYUZlI4MAPj6mhqymr4z0SG4R/dhfM7Xv8MRPLL/L0gzMdoRAOZkovU9CArKcRknNraGnEraWinYI6cOLp5j+QBD1t32EQTlO9RGATyRQqcFJZ4our2cPIVdTZpdrGgiWPOgqV3uoAvRqh7EUx+KWzczNsjAkY3Jmfhk3DGHCaJOgskeU4FK+Mmzx6XS/ySwsrhnyZAoazCQ/xguNKcgUqPTypY+BETzAKlwbYBYo1Hnp533rn44vMvkJ3TAR998jFGjx6Nzz/9FEcffRQqKiqRLoW4qroKVVVV2LxpM9asXx/0IHHEK1AYI9IBI1CSiF2gJNG+EFGg7EMc8AKFtQZVPdYbSYQH1XymEyvHJPYXUGsJFBnyd3upMMlHqjHGiP1SoFRWVrabBA8cPWEVlTN6X01bghoK04eqb3sA04cMxjUl7anmZSc2NxliMyGJ8DDSKVa0pkBpFRWCBYVCJZTYTjZTJLNwbsI9G/dms3AUT5hamsJ90yDC/BzJfTizcG7M5qEUix0Doebh3BpmTZHZTajbcO9CidA+tzDvzN+Jh8L5tT9Te4JZT9KQxXJyYDhEOzmwtroaN/+/mzBu3Dh43C7s3LkTU6dMQenu3SguKoJIP4wcMRydO3XWg62+WbQIh82bh9NPOxXvvvsuLrzgfCxftgy9e/VS+7zW1lRj3ry5OmLTr29f8Myag4YM0enL5SGaCNu8THjz4e7cpJnb8B1//PHo2LEYReIvtaqf/exsLJNv9erZA6NGjkKKtE179+4lNYATh86YIeY9VasYNmyohKEWw4cNExqKEcOHo2xvGYoKC9GvX1/VhkaNGoXTTj0FH33wgXYWmsE2L4WckU7skLzrrju1s3WXpE/Hjh1x6KEz8NWXX2Lo0IMkzr0xZvQoPQ9p1MiRWLpkiV4L8vOxa9cuPTtnT2kpcjvkCnVAfl4u3C43Jk+ahEEDB6CwMLD7W/du3bRjcO+ePfpdA0wf1nTs1yERzLf/+83NGDNmtL7rVlKCdWvXSjhGIzMjXfKiGH0kbajdjBw5AlWVVejWrQSFBYWaT7NmztR8GztmjOZPba1LwnMwSrqW6CgY47Np46ZA1RYG9JeqvDmdMiTsjA9r13SJz6CBgzB16lQ90oXxGjigv4SjEl27dpH7gRpu4Wl07txZw9ZD8nXtunXtriA2B0wnxjNWMOYklov2f3JgkDtCO2V5rz8xSpPCROHywccf6TP/cUQisMcph+1sWpBrXbUSKI4qSCykwOmBTHQvTZhqKdRczamnDQpz0J3xHfpjZhgyH5/NzQuGJfDH+SheFRYfffSxqvv8Tl3Y5WL2i/eBuPCew4P0xK9CkaMD6VLQuEiN4LA53zHDCbM/4Tpl6a/hv91hx+TJk/H222+re6r99I81rMZRzDKzMnVImYxBs7r38ktNTdO0UQERTFuCoyqcG0QY4SJ4zzhQ6JoFL/01rkwXzQ+5V9PgO37DRoamedBeYGia8Q/GW4gX5gVHO+wiKJju4dLGAAsJBS/DX1NdEzQN9F8Y7jQswfDUryjnNcAHxns1DcbdHO8DARS6B26TR0Kq2curEXIhMhkzksOWLq9HhYlaD75jotRdxcwlmkyAEQN2eHId3XP4lMOmvHKlpnCN2tF36n/AH+O7kYh+G2FigXx/4UJ4JFz0l+8M//RZ7Bmkbo1n2pP3DBuHVHlfU1NT955x5Tvj2fx9I43MZNjhlYXmvffeC6ZH4Dt2poHJT2pUDqejzg2/xyvD7RJhTPOAO7teSUxL4974LilceEj0T/1UtzQImLHwGv5Q+Okrkz1eGXbNN9qjP2LO9GE86A8P9TL8N3/TIIaJP7HRwNycpvodeda0CeaZmstVnQXtBMIViLvZr31F5rIRjsK9p5lBoe/iIS35rYQDS1QncWCCBSGJ/QKt2odCSRgrL4TaNZowWiuGgYRJie+b+ka4PpRYYPhvgNP5tblAs8CfglfaZWKqmVYBJgthwDARTKdEwCYQ1xBo8KJ8R8/SFQtaq0UB48kwaRMp2CSKBsNOaP5wEqyhUYT7ZGiahrNjgFoGtRzCSCc2y0TlRv/+/dG3Tx+d7DdyxEj06dsXo+TK40p7du+O6dMOwXfffIPRo0bpaQNDhwxB7549MWniRHTIzkH3khLtj3FLE7c2ZFSLfTI7t21DqvDzQYMHo6igEOnShOQO9hMnTEBaSio6FhUjOytL/B+J3bt2aX8R/Wf/1Whpzi/+/vu6sBOcMJcj9gdKuDt1LNZ7zlouLCjApIMnYuhBQ5EqzRaGd82qVehUXIwUyY+Srl3Rq0dPTD54ErxuDwrz86Spm6Wzro10ZDrF04dC0CXzu/33ocg9mYaqrTH1Phry8/Jw1RU/x7CDBuOYE07SIzSfe+45HHfcAu3PePXVlzF//hG6YpPgGbaPPfYIzjv/PJQJY3344Qc4ZOZs+U7kL4XrQ4kKKatkmvfefR3z5h+N3bt3C9OO0Mx95NFH8Ic//A7SdsTyVWvUOgUNh6aDkgSTJx+MlavXYMXKVfocDuGm3scCNoVuv+UP+Muf78Cq1aux8P13cMSRx8AtAticAgzTyJHD8ac//R5Tp88ONDOigOnDdArtQwkFj5mYMH4c3nrrLRQVFuHh/zyIY485Ec4UOzp16oglS5bixBNPkJTw45VXX6/jsBIpwJddcgGGDB6CWXMPk8IWmBEbjT9YII0JW+Z0Ki8v1/QzF1jyW5oUSAoPbtJE1DWXgmB60z/aNbsNBd8xnZkmevC5QBekyjP9MMB0oj32X/AdYbgNB/JzCg9QFwGg1a34xXxi85RuUtOEJ4LBDZc29V9u+I7fjKcPhR6xadIafSjmVNUwtrWGIqHEu++8g6lTJuHV198QKewXZnEiNzcHeXkdtEZ6/70PYeFGmwJ2OmZlZaK4Y5GuvSksKsKbb74tH4r8pXg0FDLQIdOmSiaJAKqswvdLvkdpeQUe/vd9+NX/+w2cEp43XnsVf/vbX/Hk089qZpIJXB63kAczZhyC9Rs24IflK6LGPVENhX0CrKlGSc1YU1uNMaPG4NkXXtD4G98jc/7j/vvwwAP/xKknn4IHH3kk0KcQBUyfWDQUfn+dxI+d5LNmzcTSpUuwYsVqeOHDth07dB3TxZdchMcfe1wLrhGosrIyFTBHHn4YnpJ0Y3iipQ9BO0xfwkgnqdl0D9bM9FTMmH4IDpt3GBZ/9z0uuvACnHXmGRg3bgx6iIbC82uqKipFiF0iaTRSR6ioHTjEPbWMki5dROOYpIebe4Nriwjy7HlnnSVC8ij04KhQj246QtRV7J8sgnLs6JE6EnnYvLkiUPMxfuwYXdYwYtgwzJk9W0fdpk2dJoJzkPBoMVZKpcK0pfZx6cUXY7xoLx2Fd2ccMhVHH3mEnt00dOgwHHrodAwZMggpUobOO+88Hd2ku0gwv2E6/SQ1FEpjDr9mZ2cG7bi0x5/ZeO/dd+HSK69Git2h6yFuue12CZEFRx9xBL76ahHWb9qgud1RBMipp56EW2+9XV5zuHIoKsUfMkYkRNJQWHB4QDgrHWbKtm1b8fbbb+CXv/ylPNtEMzoM7723EO+//wH+97+npWY9Ut3VVlbggX/+A+dfdKkpIy3KtNOmHIyHHnksKjMQsWooDEdhXo7aZcXHdP3Tn34nhfYyEbJ2dCwuEqYej+dffFFzsL80A8488xQJ7ysaht/85mbccMOv8Mknn0seha4urgftxqKhGNDmn4TpHsm3n191vQi3QNrSnHn6xhuvYv4RR8IeFJwE/X3micew4MRToKNCTYDCJJyG0hQkCA347kAB42XAHD+mU3vRUNq0U5ZqY7Wofdt27sb2XaUoq6xUM24H4BR1z+q3orxsL3r37olTTliAY46YL02fo7Fhw2oME+l95hmnYsOmTejSqRNOO+UkHD5/Dq6+9hosXfJD8AvxQYXIzp0Slp3YumO7NKusUlPMweeff60FcJeEcdGib/Roz+OPPxUPPnAfDpHmzH+f+C8uOP9iXQH9yv9e0ILFtvjf/3YH7rn3n00Kk3jAlblGeu3awzSrwLp163DxRRdi7sxDcfddd+FF0VAK8nLxh5t/gxWiGd1ww8349JMv8MnHn6uG9/HHX+jivUjCJB5Q4N/2l79gypSJIvjPwqpVy1FZXYE+3Xvg7NNOw1RJn3/98z5cddVVcNiduP7666Qp1EndkuNSeRKisl4ciNd+EvsMZhbT+9aah7IvEUlD2Zdob4sDKVwpfGLVUNoC1P7CzUNJoiHi1VBY0En7vYaSRBIJwVQvsZIaPnx4nRbI52jo1aun2uHMY165t05TyMrKQh9pOhpggY2kdfLgc55hnCxIASTTIYn9CizWtaKtZOfkoCA/DzmZ2Tq607G4I3JyOsDhsKOkS2fdmIqnEa5ZvU6XHdisFvTp1SMoXLjUohA5FARibh4JYoHgAV2VFRUYOGAAenTrpmdU9+nVC7k52cjPzdUh325du0qTzo6d27drX2EvESwMR3ZmJvI6dNClBz9FtOoojwE1k0SnlOc9iaM1hPEcSi2JcKM8rfGdeEBVnsxtTqd9CaYPmxhshpHaA9gMo3ZgTiefLR3bS6vhK5mAveu/gqPL4dibmo+dOzchtdfRyOwyFNt3lqFm7ypYus1HZW5fpGYNQE16D2xcuwr+vLHY6eiKCmsqkDMMKUV94cudAMvOz0UABb712//7DTZu2iSa0DDRcHrovJchBw3Bd98txu9+93+YNm0qhg0dorOjMzIyMWjQQIwYMULXlXHXuO8XL9FZzG0FplM8ozwG7+8fozxBDdTch8Lx9yOPPBJV5eXYsnWrRKICW+VaUNQR69eu0wV2RcWF2LJlM/Ly8nSx2/KVKzWhWgLh+lDYsUt1dcmSJTrM2qdfP3z22WeYN2c2PvnkUw071364al3C1FZto+4OWVDXHDTqQ5H7sWPH4sdly3SIlcOUGVITMmy7d+7EMEmj999/H8WiunNRJcMmkWqxPhimdWgfCnc+m3Hoodi4YQPWrFmjE6pYsFl4ONTPOHAUh4vyONEqV/Jud2mphpnp3VzU9aFI2ugQNCEM5vc54LPUwOpnR7NTjKQ8KMk3LR5YhBf9Po/koQhJIe4lTPa2gCNOjJvcc+KkmHOuik8qQ2nU0JKCec+Jg/wZa6B8fq/wQUDgGnFTHpF7QwBzktou5k0LxD0etEAfSpXEhf0l5XItl/iwHyWhPhRzzPU+nEARDx3i8U61FQH7a6eswQyMvbGYjHYJI/y8tpRwMxBpcWAowoXFMDOuLYFwAoXg9/gzNwvChokTD4PBb6lwhRUoTYBfZjAihSD0XTDI+zWaI1C2bF73W7klE1ZIvlF4UKiUCT/oc5CqRCmole80v1NWMjXuNCcDBq6tj5i+EYm7BCxISsGayFwYeE8KJ0yM77ZkHI3vmcmA8cywhL5rCRh5Fgr9pqSN8U3zd41nDRN/pvexpEtTdgyBxfwLiLWmfz7TNRyFvjsQfs2B5JdXyCN56JX0VpJnv5BPzHwiRHj1y1U/JM2kqB80c6XeU0PZvn27ZceOHdbCwkKr1FYOailCu9RWBJgntiWRRMIgu5qZKPQ5ieZD0pRVZFBD+aUIDGooVVLGqY1UyJXaSYWYsyOoSpqwNXLvooYiV7c0yb0iG3xFRUX+Jps8vE6dOtVaUVFhyczMtJWWltrEc0d6erpT1J5U8ZBnYqSLJEuXD2fKO95niFma3KfJPac2GqQdunK1yjv6X/c98Sd4l0QSSbQ0pGwG7xRa4AkphuxY9citR+61E1bua0RYsD+AwkObOXKvTR1podSIX3zvkmaVq7a21msIlPfff58fUUFiXMMKFNFSLEY/irSVxC+bXT6qnbPygVTRWlLlYypAxD4FiwoaXsWeU8zZ+2WXKwUKhQmlh0XscNTI/M0kkkiilSHlT4qmT4qeChSfEJs2HNlhZ5lb7qmB1PAqz+ygrZZyXk3NxOl01kh556iP2hVB4pXWS2j/CRFRoGizh9clS5bY2OyhliJtJ45LsenjlA+lyHMKryJsUiQAJCdJAqvCRAJIzcYm9lWYyLuw30oiiSRaDUZhVwSFiRTFQF+JlFHVVKSM1g0XkyhIpFzzXholrlqxIzLF7RFZ4KEwMTV3zGpQI4FigGaqpZj7UihUUlNTqXE45EOqsVC4iF0KEId8WM2FDEGiwkQCZnzDwl57QtwmBUoSSbQyKDx49QTm8AQKvJhJudQOV4GXJGVUtRUKF3lPwaJzUOSdOPV4DGGyadMmf5cuXbzh+k4MRCrYam500LI/xRhGlvaTLS0tzVZZWWkXdcgmQsImH9SrfFvCZqM2oxqJSDqrITySQiSJJPYtKExIIjBIPim3epVy6pUyy4tXzLxSvj2iIPDeI/c+DhNLWfebNBOzIIldoARRp60YgkWkFO/ZcWvLzMy0iiCxyMetGRkZehXJxkab+mFcDYiWkxQsSSTRhqipqakr9BQmxpUkgsQnyoEOC4vQ8EmZ9qWkpPjS09N9O3fu9HG+iZRxfxhBQjQQJkRThbuRYOGNIVyqq6stIsks1FxoLsJE3xtXgsImeJtEEknsY0hLooEQEIFCoaJmFCDUREQr8RtChOaxCBIDsRb2UHv6bBYwvBIUNMFbzgINdZdEEkm0A1Bo8ErBoQaCEAFChAqO0OdGSKTAN+UmKUSSSGL/QVNCokkhYkbknXqTSCKJnwLiEhhJJJFEEkkkkUQSSSSRRBI/YbRmB2qyczaJJNonWq3fpDmFPikwkkjiwETCAideoRDJfgPzm266KXiXRBJJtEfcfPPNwbs6RBIicQmXeARKqF19Nia3GTBPcksiiSTaL4yJbAYGDRrkDwqacEIkJsESS+FvJEjMQiR0lmxydmwSSewfMKbYBx8VUabbE00KlaYKv/l9g7U8vJrX8xgHIxkChcdwqEESSSTR7pCSkqJrdni/cuVKbgZe95zoOh4iWqE3v6sTJtzJjVdj1TEFR+iiwNzc3DozA8lFgkkksW8QuiCQ4ILA0tLSuoWBvFLIcM+T0AWCLbE40GzeYPsCaiDccImCpKqqSrcu6NChAwWL3nO7Am5jEHTLM1r0PnQbgySSSKJtYGxZwC0K1EBAIVNeXu7nldsVmAWMCBIfBUu8WxcQ4Qp5WGGycOHC+sNakkjiJwKpqfWgOqkYgyaJoaCggNsDBJ/aHn7TeU4EnydMmFAscdNjMmpqarh1ge6FIopDwvuhaPMlEoxmjnlLgiSSSKJ5kIKrh3MZ9yzcJEIKt5JhxnvaJdFuIuBB8aNGjcLQoUMb+CHCJFX8TRVh6RShoVu5itZi51av3JmR+xyxa4Pln0pFUB40UDiC1zqEW21sWLLwnGP2mbCZI9LqxqB5XeTNEo+geaiZgVA3xjWaG5qHe2+YRXtnRrRvJJFENEgTQLUT8pABo5BLMz5o0hC0S3fm91Lj68mVNJ84cSLGjRun9qSM6XnI9K9Hjx7sEEWvXr30mNzCwkJ9z2vPnj3RuXNniMbAQZGgr9FBnp82bRquvPwy7Fn/A+xuDx5++jk89sgjejpk165d7/V4PNyy1SZx5E6LumUrhQ7jyPOZeV6zNIX0OdxZxqEI1VCMUlfX1DH6TILmqrode+yxGnmet8tAM7L88MiRI9G/f3+1R2nIxOvUqZMm3LnnnosrrrhCE47HcP75z3/WxOF5vrzm5+er9KSKWVxcrMT7gw8+GF26dNEI0Yx+3XjjjXr9xz/+ode+ffuqXWYCw3T00UfrsZodOnRQf5kpzFA+81u8JpFEojjppJMwc+ZM5clQkB+nTp2KI444ImwlxuYTy8CiRYu0HLCMsOxkZWVh/Pjxer9p0yYVRnS/du1aLfzkX36Pz7GCfrz++uvYvnEtLj35SJx+xCGwW/24+Te/0ffirx6FI1dDU0mRcsPTK3TDeSlTqqlw8IVyIIKW0gChGkqdQKF2sm3bNis7XqVdZZVI3sAXlK4vvfQSSkpKsH79ejaLsHjxYsyfP1/PoqXZ7NmzkZ2djaOOOkql28aNG1Xl4vm0Z599tiYcE2bIkCG6Izft0h8SJTclNmsFCqVVq1bpua1nnnmm+vHhhx/qd5gRTODDDz9cM4cHeNMfCh1mWr9+/TST6KfEQ4XK5MmTNXLHHHOM+pNEEk2BfGbWUHgl/7D2/u677xoJDUMIkIc5HGu8NzQUPovWD2laYN26dVroV6xYoTz79ttvc7qF8uvWrVuVn3/88Uds3rxZ7dA+34eCfhrhC8Wvb7oJGTYrssp3Iq8gD4MmzkKKVL4PPPAANZT/iBXKgAYnVNA/li2GUcqQX5o8ui8tzZrSUkIljT5LIWxwHKlc7T/88EM531GLYOH+6KOPVCOhBGQCTJo0SbWBvLw8vPPOO5gzZ44mAAv1008/zQ4gDSA1GCNhRfoZqpdqKl9++SV27dql76l18MR/vqO2wUygZKffo0ePVnMmNDOEwuPbb7/VRKUGMnDgQPb76Dv6xQzmPTUYho9+J5cHJBELQjtlyfv//ve/9d4QFuHAskBeNmB0yrJQHnTQQVqOWPnxmXy5bNkyzJgxQ7Vuo8nD8kCN+/vvv9fmTlFRET755BMtD3TP6+7du9Vt9+7dMXz4cOV/8jvLBt2XSxmzO6146ZabUAU/Tr/hVlxy8cX4+913s4KeJUHTA7wkLi6p3HncaC3vRXDxKA2eKuiW+HtEkHiMEwODHbRGe66BJDOniHFf19wRrcQmAbRJ4bQtX768LPi+gTQ0EjXULNxzqLkBJiQlMLWbphD6PbPfRDj/ze+oPVHCUq0MZzeJJMwIFShmXosHhkChe2rzrBjZlKe2zW9s2bJFBcJXX32lQoYTRdkkolCg4GHXATV9akY0Z+VKM96z3LALggKMlbChUbGiZxPqv/+6Dzl71sLl8eKTbW5cf+NNWsGKQDla7KkwkWce7FUjbmslTHpaIIWLEN/p2TxSOXtEHkQ8NZAwUsacQipQ2BkrCaACRdQ++9dff70n+D6JJH4yCBUoiWLfDhtb4bT44IMdHin7Fr8XPhE40sI4xSxMeBXLPDS9Wp5rRWOp4XsKHYm/W4SZRwSYnhwYcq4xofdhBQoPS2dzR9pw2ikjcEh7cHfwfUT49QjjJJI4cJCakgKXNMulkAVNwkA1XSlC5lIUgtwOHVC6J4Y6OehVq8PHEaaB5wQFhh6ILqZ6rrGQcUg6zziuFUHiokAxN3sSFiilpaV2ChS5r28QNoJIPasdPj3WuPUQLq0l8nGroPHmmdl+JLfxmpsRb3gSRXO/05y4tFUcWxo+v0/CLb8oPOaXH+1EAuPuF3+sLVThkucJI0wJ5Yv44amtuFT84tnFPCi9WkyrhCp5lecqaZlUs+lDocKmjwgVD08RlKaaN5JAMUZ5zN+ySnvMsmfPHqt4aOXQkcAugb+WEQlH8g8+q1OuASkupvq/Jahpv4hw5k2T8Qv3rrVpX323pShS+I1fuHfRyHCTiNvWpPqCEf59gIhw5vVkFP1Y4te0HQPh3oUn48d7S7DMer2ud4JlmC9YeHmYukeaOzzjWM89FuK5x2zv6dGlQpxZq30+4dBIZHKY1TwzVqRSA8FG1U88NQ5gDoFYlaDpEc0tRC3pVyjR79b0Pxrtq++2FEUKf6JparjZ39OlKYolfvGkAe36PF6py+XGZB5KtGf4ayrQKUJOER46S1auVBxIPKucCoUlJSVF1+dJeVdnUvb1SjkRDqECpYHwoGN6JNc6e5wTwvFxknw4aGogEFo/jcMQJaTb40Z5RTn2lu3Fnr179FpWXoaaWmnCyVdUioZx2xrEcEYKa2vTvvpua1OiaWq4OVDTxaCWjl/H4mJcecXlmHHoDG2eeX1eJePeKE+81qWxXIKgILGTKERIon1wxixnzurcFLnqWeVqOwaENnl0Qltpaakehp6ammrlR8ScEusaWuCEtgEDBuiQFYel5IMBx1aGLeBNuK+zY6uqogKemlqNkZUSVbQdq8TSIvde0Xhqq2vEPx+cjshrFqidOW32OonLbzG6vOqaSnlvlScNAzU5EXo0Vrtyb2c7Vsw1icRME8DkJpT8DKO40/ugGaUrzdixZbjju3hANwciGK9E4ma4OVDTxUBLx0/KJXr06IlVq1dreezds6cKmf59+2HwoEHo06s3OnXsiPTUVLVbWVGp/Ev4vO4PpExoM4ckssQtwsNts9n0KmVN56ikpaV5XC6XT8o6mz20r+7XrVvXiO1D87GuQ7aystLKIWNx7BCPnSJctgXtNAKLrN+epgWzrgAHXik4oc3j9WDowME4fP48FBUXorCwQNphW3UST3V1FXbvKcWKFStxx1/v1oLP6fFGwEMxc/p0vP32OyLUOsonKYy8OoMwvyBfh+Y4Ns9JP/PmzcPDDz2MFGcKXH6vromoqZRv7d6NPPF/ytSpePe993QGL7/HMX5ODOKEvPz8PNXCRo8eg6eeehI9e/bC5m1bYROBVFSYL/6nYdGib5CZmaFC1cUmYITwhkNoGh0oMDgs3rgZ6XGgpouBlo5fTlY2ph8yDRs2b8YXX3yB3iJcOCeFEzrtdpvy82effa6TPRcvXYpSKWeBpo8frtqK34sQ0c5YESCVUt7KpTyVixmpQp6rSPKuhiM9Ys8VZehYr400FHbISmB0gyRDQxEPbPIh1VDCQR1H0FA4Y5UFHiyIRYUSsb4aSU5F3rVrp07aEYkIj2gwe3aX4uNPvlRBUiuFnEIhHPr17YNZs2ZLIe+hfo0aNVpnFlaI9C0uLkLnzl10Atv27dswa/YsUa+sWPz99yjIy8eUKZMxduwYZGZl6USgnJwO6NKls0j37ZgzZxbyxA6FyZo1a3HMMcdyIyldKvD++wsxbOhBWL5sObZu3SbCrLMuK3A6HRJ+u2hg4fqUIqMlmao9gfFKJG6GmwM1XQy0dPxYkX77/XdYv249HHaHDk2vXrsGGzdtwvoNG7B85UqpsGuwTu5ZcRJ1GorP/ZFc2OHqpnYiV86U5TAyZ8lywhvNyNic2EZ7XmooTqfTLzLBn5CGQu1ECj8XDG0N2mmESBpKjUSkuoYCkAZWDB00ECccf4wIlmIpuLlYvny5zg6UQOo0/KU//IA//OkO+iZNCjqxIFskcGguZKVnqDYxYEB/nWJMgeST5gdnID7xxBOq2uXn5amdGklwaiZVck9NiU0v2h8kYVmzek1gWFDCTAHE9xQgi75epPYGicrI9RjUQIYMHoyVq1apnwSFHal//374/PMvtIs8NJzRYKTRgQaDw+KNm5EeB2q6GNhX8TPni6GhuF2Vf5I7FlAydaWhnfAqZaJC7qm1VHk8HpFF7KtoAQ1FzHR5s1yvVhthoI5VQxEE1X7+Z+drHSw+dCwsRuduvaRJ4kBqSqpqL1yTIwFXoUKN4b2FH6kXfimiEjEVDhQAZrCws4Nph9ivqXWhurZGBcfXixapuVuaV2Xy7Wox4/1eEVZVItg8PvFT3nOW4Lbt21Ej/rCpQv++W7wYq1atxqYtW+Dl8LcEYoc0n7ziRlxhq9h3eURgM3BCHhEy/OZGEWj0MxEuScBJu0FTBSORuBlu9ud0iQVNxa+ptG0O6K/ht8/r/lgEhvadSFmjdqJaipCu5xFSLUWaPB5RKryiDTWpoRjaTwtBgiqfoASsrq6Wp/of31HjePXl/+Hxh1+XyHhVkBgCQwKuZkaEDXcV5RWBFI5ERPDeLk2PBu+aIO2oDd7TLcMTaqe1yPju/kqRwm9O03jIcLO/p0tTFEv8WiMN6GddGsultdDCAiUQWtbYbK/pUFXwx09RcHz91Sd474NX4HAGdq2iFkJiYaZQscg1EO+gO/oXvBr3Bbl52qlq4QgMPyvmVBzs4vbGG2/QOTI0nzljuvpkuA0lhrNOuxCiG530Q5jMQ4lueMtRqmJpTgVCLDDZaYrM390fKVL4Q9M0VjLc7O/p0hTFEr/WSAP6WZfGcjFDyp++CV5ZLvWaCBISKBw65nyUxgiEtl4S1v/0rZT67OwOsDsDayNUgAhRmPA5oCEEZhUa7jhd2Txpp1aacqefcbruF3HhRRdq34kOM8u7k046Eb/77e91DwubaD7vvfe++uSgFmSVZpPY4VWnQPNerhz2pXZCc7o566wzxSRgj51ctGeEg/f6LERt6le/ugHXXce+6mD6B9/HQq1RC7UlRQo/zROJm+Fmf0+XpiiW+LVGGtDPujSWiwkhj81D3AKFozLspOSGRtQwGiIYWu1R5VP9L/DWj1tvuQWPP/rfuolx1E7oH/tQqBwE46x2jR+HnHllxy5nfmRnZ+mQMAXGL35xHaory/DHP/xBXgfmszz4rwd0Udd9992NgyeMR6ozBb/7v99Igvpw/HFHY/jQwWLmwO23/kUToDA/D7+8/hoRIiI6rF4UFhTgiPmH6Zj+4AED8NgjDyM9LU3jZONmNRkZsIvQuvm3v1VBGAixgHGPkVqjFmpLihR+micSN8PN/p4uTVEs8WuNNKCfdWksl9ZC3AKFG7tw01sKAdUoGiAQ2npJWP9TiBm1AfphuKVA8YgQCBTMgM0ABd2Jm4AewXtqL36U7t6NH35YqmGYOHE8zjjjTLz66msiTALLAn744QcdsfF6/bqhE4d5Fy/+ToRhJx0WHjRoMDIyMvHFl1+pYDj//HPhcgV2wqIfJV274oUXXtS9KLp06YrVq1ZpBzLDQs1sQP8BgSFtxlNRH79YqTVqobakSOE314TxUB3PmMwORIolfq2RBvSzLo3l0lqIW6BwM5fPPvtMd2xj4W2IQGg5KqLl3/TjkwVepKSmaKEkcbYtCyY1HTZTHE67yXb9z2oXzSSYIpy3y9GX9es34IQTFuC3v/2DTuJxuWqwa1dgM93Nm7lwyY+1a1eLoHkVF154vm43uX3bDvmOE5WVVbqT1c5du7TvheYej1+bT92798T3i7/HZZddonvgLvzgfWzasCkws1aInc1fff1VYNc50WgYDgpFRdBOLNQatVBbUqTwm2vCeMhws7+nS1MUS/xaIw3oZ10ay6W1wE80uDZvHkrQQLAnZO8Hv5TckcOGYMrkiUhLTdPZrNRUqGVQmyBRC3jwP0/SdpACl5wOOdo8MsCJcpwF6JErmyDcAIcCiQWbwsnoj/GI5tOlc2edRHfW2Wfiuut+qe74nvY5zZ/u3S43rOJO/RIhyT4ZbWYF7el3xJ0BhsSIKptYHKkyRT2JJNo1qEWwrLhdlX+WcsXZbpyDwpmxooajTMpOuZQRzkmpm4ciZbW2rKysyXkocWso0SF+UgIKpaanylP9j02WjPRMDBo4SPeEHTNmjG46zXteueVdUXFx0DZ9CvjFEFIT0Psg2Rw2/Qav7K9xitZjEWFglUJPc94H3tshwlEEVTluuPHXYk+aWmLH7hThQ3ui+VDzsKc4gloQREviOxFMJnv6HbkaRLP6sIgwMT3HSom42R+I8WpOehyo6WLQvoqfOV8MCdAaaGGBEggtWyepzlR5qv/xBbtNdARGtAHW6obWQS1F79l04MxVsatu5DErM0uviZJX/Ny+c1eDURqDgq2oRuZtQfvqu61Niaap4eZATReD9lX8zPkSKHWtg1bTUHhNS08Tk/qfVbQJ7SsRogAxd8wqxKyBfWodQpoCrUBmqd3WtK++29qUaJoabg7UdDFoX8XPnC/B0tYqiFugsP+BwqBOCDRAILSGJOQqX87loHYg4gM2qwPpImRSpYnCa0qKU/s0SNRanNRexA7tUkPhOh5DU2kNMkvttqZ99d3WpkTT1HBzoKaLQfHEj9txpEj5sbFEyD23+eCVRDM+cwsNwy6fae6QippXp1X+ixm37LB4uVVIwF/KldaC4XfdNVqnLIUJV95yJ3CeO/K///1PR3rqO2UZWj6ZPJRn7sFQK/Y6ZGWgKL9QO1EtbIII6KfPx85VdrJ6sHHbDnqBDh2y9X04GMLMaDIlCvUl+K/OL3PgI4BhNrSrcGD4woWNE/TUXP64RsgWxY8GCEQ3fLhiCG9bIlpQo8GIRjuLTosj1viRV8aNGY1ly5brOVJ9+/bRha+9evXWLTpIXDXvSE3DJ598DKeUH67A5+jrqFEjsWdPqR5ZundvuS7E5er4Tz//TD4ugoiBEB5tF52ynFLPgt94yJiQpBJvzVKYCcNRlkyhPRK55WtWY92mTVi7cYPS+s2bsHHrVqzdtBEbtm5BWqoTuRQmhnuTX5SwPpcbI4YOxaTxE7jNlJr5PV5kZ2SqZGbCpjqcdVLdK8IrTTSlTEl47hXB5pbhHzO2W0mJhC1D7Xbr3EWn9OsmTCLR01NShVLEXiBeJMbnkMlTkCbf0I2e5DlHvs3v+SVd+vbqhdzsbHXH79a5k4gMPWgIunXtqn5PGDNWR7sYHhWQQXvU5iZPnChp6FfBW1FZiaycbPQf2B/VkvaVVVXa58TFiXzfpVOnupqnLcmcL2Zi3ieiZRhuEnG7P1Es8WPaciCC+wN17txJy9vq1WvQsWMnLUusk2iHo4/kOeY/t+zglA5usrR9+w5UV9ciMzNL7PmwYcNGPfxLtxGh3/KZ1oLhd921qWFj1s6MIAuBMf2+XkPRx6ige+7hoAJJvsoCxH4SNo04jKyFKwIo/ejuxBNPQFlZue6FwqMaeYLhOkmwWilg3J+Emx9xGJobzTCM3HiGGyhxycCK1avw5Rdf1n2H/TwTxonWJc0wZiClOt1x3goziPNNvv3++zoBygyaOeNQLdTcGIrzaJYsWarnPTMsHPqmm+7du0mBd+ONt9/SafzE5EmTsHLFcrFTqWfjbhFBylEnkfSBhY0C7V8SIXXllVdgrTCRU5qFq1au0lPjckSw7NpdKt8OpD/jaXXY8NyzzwW2T0jigAH7EAf1H6CtgZqaas1rzoFau2aNTm3gSZtcnc+tOaSsIiMjHR9//An69+snvME6y4OsrGw9QI/aDTcVWy+ChVzPckT+aQ0NJW6BEg7RmjzNRahfTAhjlIiFj4nMRGcBZ+GuksLKafc1bq7ChmosbF5RiGl/jbzjnieSUOo3p9TzXYZoKVwSxShQIFAQ8cDr559/HpWSobRvgN/nOiCnwy5uXXpivlu+RwFiFTMKXDIA57XwWwTDTYGpfUVypXbBb1DAci8Ys//dOpWI4NiFNGESxnPXzl3IkG+kpaWK4LHpCmy/WGfcCwpysHnzDnlmbNoOkfLYCEW4d9Fg+BfJ3wMFscTPsEPeIN9o8zpoaPAJeYy8pH0o8pJnYnHQg/YN0D0rM145lYKg64CWtF8IlKDBPoQmmJBRYweSsR7RanKzXWYchRQzM5wb4zuhiOZ/bLDCZcuW/8G2bhOgILH4ymHzc0OtJH5qMHg2Hr6jGwqeditQOKN0yIgx2jeQROKgYK6158DWcXTgmRP6moJXBN+mD+BA41P5mwMK1MCWgc2vJUyVZkIg8zcvHFLhUaVLFP7AaviEYGEHPr/djO8r2JMXWj3GCkk7CQc1deYrwWbziuVL26+Gkpadr23/JBIHT0DiimgeNMAyZGoFRQTT3uvn0GK4TvLmw2DAyGCeG3bM9/WgQGiOUGEQmg5HZAQEUuKgMAp8P4EwSEEmdAuOZoCacmAiSSKQ9A/RYZgmZXt37vtRnmjwsw33UyVhuLDmcZAe18EOXBYg5ozBw1GI37VaPWH9awni0oToZLYT3j790Q6qBCm2cEQmc3wSIZHWcpVCyTIdL/H7QuHiFQ/5pGnrs/qCJPGKh8SLBvFRnpEXrYC4fKVUy83N1c5PdkQ2qjUoo36qRIQzT9IBRPIvbgrnT3OI0kFu4iE6DF5IIaW2RRGXQKEAEVVHD/risJX2MpvBkP5UiQhnnqQDiFga46Vw/jSHwn2jCSJMfgRNWgVx6z3snJI2lQ61NgJD+lMlIpx5kpK0r4kwPVOutBbiFiirV6/G4sWL8fHHH6tgaQCTFPzJERHOPElJ2tdEmJ4NGdMaSEhDIcL2nJukYIDE+58KMSnDmTegYG7WEZ/D2UtS+yRz3pHC2WkrCuWlKESYnilXWgsSshYEQ/pTJSKceZKStK+JMD0bMqY1YP6cXpszD8UIKbWXwFqdkE7bZoKj6Zzes+/ACDbn+6LdSdpwyI7LBlwu7uYfHc39YuvDHMJ4Q9v+Y0eQ7zSo3BOZCz4FXHKhQ/ytiujpw3LGfZqdwTDFCkOL2FO6vX1PbDO8ZkS5zqSlFaD9H0ygwFokruPhcbHcGDuJ/QMWi/A5j1MRcKNzYwuOfQufhqnRFI4oaE2B0spNHvleM8kfxqyliH63pv+NSdLclD46ezGsvfZPkdIt0TQ13LRtfsRHqqnU5R/vw9uLRrHEL540aBimCESYnrXktxLiEijUPLgFABfN8b4RaBQj6VTkELNwpMPoIaSfbmTGf2HMo3xHeSLErC1Jm2+mZ3O8wsUxEsVjt6UoUrolmqaGm32ZH01RaH4lQrHEL540iClMhOmZcqW1EJdAoVpFgcJd2yZMmKBL6xuAIQ0hamJzZ81ERloKjpg/FwUF+bp3w8mnnIDcvGwUFxYgPTUF+fl5uhjuvHPOFnvz0L2kq27KlOKwo7hjAc6/4BzdD2Tc+LEo6dwZBXl5yMnO0g1neJLfIVOmYNLECfCLsLvw/PNw0kkn6PdPkavP49HvZWWn66mDXbp01o2JuAcKO8tDw9xWZNQuDEP3riX41S+uQU5WOvr06okOEs6ePXtonLnHS0qKQ8yyNfxz581FnqQXjxdhBv77gfsxZ9YMeN21ml452ZkoKMxHekYq0tKduvtdB7GbkmpDdk66fCMTJZIG3IJTNeUEKFK60TyRNDXcJOK2rSiaNsBztS+9+EI9K4r7l9htVp01P23KZBx3zNF6TzPu/aNHssizsWcyZ8MPGjxIPiDNYc0Qv5aF/NxczfNZh84QIePXvOZb83fbm4Zi9CrVfbZHjx6Wqqoqi9vttqSmpjIONoeD50jgalooKCjQA7p4lCg3b+EwMh07UtLrQypXj7t+jgrtzpo1S0/0W3D0cSjIz4e71oWpkyajqLgjcnNzMPygYVgu7yuqqjBy5AhUVddgprjhVnc8HJ27rU2dPBUrl68QwZCth60fdfgRGDt6NL5fvBjVYp+zeDdt3ozPP/8CGzdt1nOQR40cia+++hrTp07Vw73mzp6HWrFLwSTtQt3Nqq3BTaW4oRJ30FLNShKQO8V17VaCyZMnYfH3S9G1S1cRlJkiiNNxwXnn6r4qmyVuh82eq+HPEEF6wnHH4f2FC7VPJk8ELE857NW7D+bNmYUB/fqguKgIqXanMKlND3WfMGE8unUpwd6yvdqpWFxQhOysLOwJ7tkSDwyGCQXNI72LBsNNIm7bCqxQ9bxrAc9yUu0gCJ6LzW0WC/PyUZibj27du6n9xYuX6ADF2HHjlRe522Av4eXxY8agf+9+6Ne7NxZIPu7ZVYpOXTrpRlodC4tw8PgJKKsoR4/u3cW9B9NnzMCGjRt0ZT/PkzLKGsPAMJnD0hQMLaKmpvIjCSMLKleWuuSemwjV8ip8yWc3Scq4R3jMW1tb65W4+KTc+DMyMvzr1q1rJJtC87HJTlkKEBILAkcq1JHETjtlg+C7QKdsAIYbCZxOhuOVhYBmBJ/ZjGJHJTceMjQfmqk9P9379YBy8zt+n5mVmpYqNXAutm3dqsKLs3ipuVRWVapQob/8LsGw8Xtcj8TtFClU2pqJjU5ZphHDQzA+xtUIr9vjxgkLjscrL72EGkkXi9SCRvox7ZgW9ItpxpEjI270g1cS35vBd3RHu/SLaUh78YKhDufK4LB4fTT8i+RvewH5ipDy0SjdmJ5MV4OY9kxrprlb3nHxJ6QSOXTmTLz77ru6jSc3PiIPMx/ohvnI43FdwsPcZZBmZVIRGmWF/hllgOB7hilqHoYkKptUfNwPR3mSCAdDoHC/EYNRIsHMJkbOxQojhy1+sy9irma8ipDXd6R4ff/pgYW2fpSnsUCJBZrSUj70Xtw3lepqJ2g/EvbrUR5GjhS2IBi8uZ8Qy1JdedoHFEv71whjIuHU9qpodlavB15XDarhhTdFNBp5Ue2uhdVNRVkeyIxKjf2IlxINq+EmEbdtRTH1VzRB3EpAO02EYolrU9+MKUyE6VlLfishboFCdYvNBDYZGklFhnQ/IlX9QszakrTdy6vWQKLyiroLUYFp7lEzq6izwa01YyBqG5zq5LO4YfP4UCGaUP7sSeh07gnInnMI8ob0g7NbZ+T07omiaeNQfNrhKD5uFlxOhwgdaZtbbLD6bOqd2d94KNE0Ndzsy/xoioz8ag61dPxiChNheg4ptS2KuDtlDe3EaPMTdKydsrwJ+uSRNmPdczslo4ZQudiGpO1kEczsIyE0kfNygNwiZPbuBVt6NvJ794VdBHeO3YryStFEw/gTjhweEQo5ueh24QL4yipR9uUP2Pvld6hevwG+baXA7r2oLd0L17qtKF3yI1w/roW/b2cMPn4+tq1fC191pR4JQu/M/sZKiaYp3dGNcQ1nZ5+TgGdf8579Hlqhmt/HQC0dP2ooDFPUsBAhz7y0Rqds3BqKAQqWRjBJwf2BEq1NW4qM2oXjZJ7dpfBvWoeKr79G9apl2PHlp9izchmsPF4jxF1Dkiwk0S+rA13POwa2rBSsufM/qPphJfweHqpmgUN17YATu1QInPWZItzt9Xlh/2EdvrvvcfiErfpefCrs/bsHahpqK2InnjRKNE0NN4m4bStKaihNIyGBQu2Ec1GMUZ46MKT7EbG2IIV71xbUZPtXbTRhR4hnBaUe1Bsd5x2C1fc+idrNWyVnG2oZ5nga9+Yr9/Z3iOay6m+PoXbVVhSfdxzSRvajTBEL9W6bIvpl/lasFBqm9kgx9Vc0QS0dv5jCRJiemZ2thbgFikeaMlOnTtUhLaruDcCQmsjqsyrBy2aStO7lGmpnX1KitWlLUZO1i9oIb4fpahHNhEOPXU4+DDXbKrDzxddESREX5NowbqKR1RdIC55CZ3HXYst9T6Ns6Qp0P+FIpE8YAjc1Ur80hoJ2w/lBSjRNDTeJuG0rajK/TMR0zO+QC5tIZKMc5GTyREwpB5I/nhqeMtkXPbv1gNslLY0Qt5TjBw0ciOKCfNEcPRHTJaYwEaZncdFqiFugjBgxQud6cBy90a5tDKlBQfjtdhScNA9Fx8xC4XFz4HeICm+2tw9Jy12IWVtSQhpKEB7hOJfDil7nHIu1j/0P2L4Fbgp4s90EiOnB5jg3nHbW+LDp0WdR/s0qdD1uNnLGHYQaryvQwiJM7szuE0lTw02TbonQZymkPI5WGvjwukwkzz4S54dwEiH7/VigDWdm/4xrFIpJGxDipMETTjwWL7/8nLrxyPePPmY+XnjxGV0Q6vF68Mij/0af3t1x8METcMMNvwyMmhp+CH7zm5uRmZWOs88+C0cddaSYhP92TGEiTM/iotVg/pxem5qH0rFjRz0/1dyHUjcPJQi+M+ahWESgdL/xEslgET5WJzb86T4pCez7CTPsHAb8ihG4loYRg9byPxKMeSjmiW3hwMLQrUcPbNy0KWjCgu6VWs8OX04WOs6agk1P/g8OHrvBxWKtCSmL3sJsdJk1Dbu++B7uZWvhdfhhCwl+omlq5LNxDQd2A1klvaxyUyXCIbVLEYqG9oejU76mpaXKK8LDJ7V7wBe/XbQ4Nv14Ho0IXxuXMNjs8FTVomzrFlQu34iqLduQYpVKzi5FU4SoagJREG1iG0H3UyZPwpLFP+IfD9yN4447HoMGDcKOHTvxi19cgwsvvBS9e/VEj549sfDjT+CRPP7TH36LG37xaykrgQqBQfB7fdp/VlFejpdEEC1YcIqEX3u2GoD8054mtsWtoWzdujVyIaBxKAVRF59wdqJQa6rAmrAhZm1JTaqraqOhHasIE39uB+RPG4Pt//2fTqtvizj4bcIqpdKs+s8LcNdUo/sFCyQwwuAh9hJNU8NNJLdq7pFPdshHt3OPQ8fDp4hgtmL7wq+x4d/PY+cTb6D0xbew+/V3sPP1d7HjtXew+6W3sOPFN7Hthdew7alXsfmRF7Hy4WewTp4rvlsJn9Mi6TgW3S4+HjmTR8PraZjWoWFpMr9IgoULP8DOnTuChTww/X7Lli16T/AA9C1bt+k9j5blmdp9+/XVZ/rB79KtT4RKT6lQ3njjTV2q0ehbtBdjmMzPgVC0DuIWKFERSL+GFATVS9ZmNGIbUWG2F4GaVIGbQfS7Nf1vippUV9VGvR2bBNaSlYY8ESY7X3iHqo4wXuCslgbuWoGEveX7Pngc8rBpK9bc/xTyxo9E2syJkp82bSKxuyzRNDXcmN36tEPHG+CXIb3R76KT4ZZafNW/n8HeVz6Ab8sO0XZr9MB5LrLzyZWHpHFjL25+5Bfi1SoaiIVpxbOtpWDaJLl8laIdbtmNio9EIN39X5R98h0ypg1FrzOOkXRNUV51i9ZihEXD1lR+CWn8OXGNWpEY+UWbsrBHRCPGiAAfffwp7rzjFqkcPEhLceK0U0+Gg9PpaYXuhQ6ZPg3vvPUyrrv2Cvz73w8HCk3wvZliCZPC9BwIReugZQUKQxpK0RDOfghFqrFagrQmCDFrS2qydlEbATss0LUZGSiZfyh2PfsuHFIo3My9UDdtQvLP5sXuj79A5Rufotclp8CblyNlP9DsSiRNDTeBazDOIqGc/fqg5IJTULNiA1bf+zhsO7fDId/xWbl2qaEfCREv9MvtQc0H32DVQ0/DeVB3dD1pDlJcDfOnyfwyUxABLaUeDDNXjx9+xFG45tprMHv2IXj4P//Btu3b69wyDd57933MnjUfl19+FV588Tldr9XA/yDFFCbC9NwwRC2LNtNQwiKc/RAy11gtTcq3IWZtSbFoKJyjYpeC5bI50OfU2Vj/nxel8vPCK1WoXTSGRm7ahISN/Vatxa2iHa3960PILi5El+MPg1VqXO0e425mYd2GJyMf3DY33H4vUnr2Qq/zTkTt+u1Yd8/jUrhdogWxRIgmwu/Lndl9/MS0M6cfO2vlJ+F2LVqOlU++IUJLXtS9jyG/zBQB7AdSbU4s/fmW2/Dks//DpEmTsMnoJ5P3RlpwDpDd7sCOHduQmprS0H/DTixhIkzPTMXWQtwChXNQPB5P3crKBuBjKJlgPNYZm+1FIKPmag2i363pf1PUZO0i78mALknzwT9bgDX3PAMfmxxM91C7bUzmdPOItl6zZAXWPfYK8g8Zj4LDJsOXkSq84g7aZZgDcTVrFbzQHxYuqwhHzj7N6NFXmx3umnKsvu8RoLZCuLSJdGphYpPFLgFl2pvNm8wvM8k/7QeReLHQ08jKJhjfiIbVqbgjnCIsfnbmWXj66WeRIdpn/379dMsJh9gb0L+/yGQfhg07CDt37hYNJZCWoRRTmAjTM8PQWohLoFCAjBw5EtOnT9ersfKyDgxpKAWhjCPPylf8qtlOFKL9cOYtQQafh3vXFhSLhpIqfNTttPlY8o9nYNN2Od004a4NqEG6yT/mqc1pxe6XP8DWV95D3vBB6HLSsUjv1xMudw2sPm+A20zuOWLj8Xng9biQM2E0Sk45UoSQB+v+9Sx8W3do/4cKI4u4DbprCwqsiAqQYUaKR0PhCP6tt90h6SKuhCx2C/798CN1U/cnT5qIC84/F599+ql2ulL78pPEObfp6NenNy677BIUFhbgyiuvDWxZEPINUkxhIkzP/EZrwfw5vTY1bDxq1Ch06dIFWVlZePbZZwPDdRLESNsXWBzBYWOuboUT6zlsXOuSxAu0tw8UMD7+Wk+wX0OaI45UEQCSIGFyL3T7Aj3wnFbFvi4UlGeyM2q9KOlVgvVr1+nwO82UydspNGQSbAoBqzxxYyBn987IGToAGZ0LUbFuI9wbd+nmRCkZmUjr1QmW/ExUrdyI8m+WwV+6JxjPfRtHFgZONuMmXuaQUOOIdfsCvokWC30vFuhHaHwNX1mOjG9E82u/3r6ABYAFYffu3YHJOGYwTqFkgvFYZ2y2tw+IlR8p3Lt4yS818D+H98frE4bi9YnDMDldBAeHPcLYNcioXVgA/alOWHKykNWnBzKLpRD27A5fXkZAGQlOBuT6G7P79kYGT1MwUhu1Oe3wbtmOna+9i833P4nKhd/BtWkbPMI7VWtXY8fL72DLA89iz4dfwldRDjg4WrRv48h5KxmZ6fj5zy9vxBsxaQNBisRXhrlehT2YVuHsBN4LXxj3Eai9aShxC5Svv/4ar7/+Ol555ZXGM2UZ0lAKARNH26b6EBtZxZHHITV6ikOX2oezEy/ZrU4cPi4Fc8Y6MH+cU1TKSjEPpnYC5Pc74LaxA1UKkjy7LU55IQ8h9sxktH+90la2C/OkiOZSvn0HqqrLULZjOxzVXAhKrmvstj0QywI1K8bTL80STrrzWQPkFeI7Jdjgtduk6VMNlwgO795yeCqqtS+BO5bpdAL6Y7q2NTGcFp8fPbt1x9ln/Qx3/f3uRnbi6kOJQC0dv/26D4WgamVQI9AolEKg8QtnLwq5xFH36y5A/6uErrsUHi77D2MvVqLcSHe4cOXJdlx2QhquOjUVDmuWvEvcXzZbGDuzscJsEEJG7fL/2fsOwLaq6/3PkizvldiJEydxdsgOmRACYe+yKbMtlBa6S4HSAoW2QOmge1NK21/Hv6VAW2iBMlr2TkImIWTv4SSOt635P995uvLzs2RJtuzYVJ98/N6789x17rnj3cftDsGWVjSLyh9sbEaorhHhhmY9vjKVXrGvibxxzoMbzrzIQZ47H/lCOfLLDmVrOQW4JV60t1jpMD2vynGHWV8SeWPxfeIT1+mcxY9/8mPVVGK5c5qlSulOX1I8EbZn8dFrMHt5o9EmOg8lFug53iHV7IFKF8/XIQF7qvqXl8LF9ypsyeJYkdupLe3PmimwgxpNmYTBlQCXaAEHnntVZ8y7C4bOCcRLTpPYOFcoSs+fn26AP+B4ezoFhKSmfKCyFGXc0SgRPL//EHb7mM7O6HRIdQR5OTnIz8kTe9FWcmT8HgqguKREzxTtL8iSwgj5g5gwfixOO/00PeX9ggsuwKwjZ2H69Gl6EPNJJ56AD5x9Ns4992x9V2XG9KkYMXy4jGgkbyS99YfqNBzu8jUwJd6x5HsPrNiMi1vfZwjft9zyJdzzzXuwY2f7jlYn2InGO6Q6WaQ7feRhQB9SHQsUAgnf5fG3iTjxYuu370NWG/cUyHCAsYrbk085FaOqKtX9li3b8Pzzz4t9ewYFhO3Rt38ObhFKPF38vdu/qwf5dhsSXn6+C4/eK71om3AlcvMDN9SiuU0qfAoFY0dAGsivZozGGK/1aY6vrd2MpY1tovpHHNgQ710eflGgcmgl/DKU5An+mzdv0h2e9nd5Did8Um5XffgKTJgwEX//+9/wxhtvwZudJ2Xh1h7eCU6xccVCD2mWhls9ugpz587DvHkL0NLchFWrV+G/z7+gX+HT1Q8Bc6N7JZAaApLHM2bMxBVXXIG/PvhXGcq/rXWKKzJdIdG7PImQ7vSx/gzod3l6CmobnKs0CeTXRhYcNVd6tDOV5s09EkFb5hhu0woNnnnRfS2nNyCCHCtWrsDadevwwssvYdu2bWpeVFiEQDCEtjbpTFRn7jto+5K4j124EF+7/XY89tjj+NrX7sSKNWuRV1gIdw63uEfKVSgYId4ze11eN7LzvMgvLkDNwUN48uln8LW77sTd3/wm3nprCc79wDm45+679JMqrdJI0w02Hp0fEdKOrrERJ59wAu66627d+/GFL94kaVkl6fAkFCZ9hf7BRfeQskARaYXq6urOKzwEc8JJDrCeJXKjiNipNI3lJmJviOeCcJnSJz1hsIuvBUZJEb2xwMbqdJcKxUIsdxFSNdXx7NZ3T2RwyD0YMjTizpMhQ4fg9JNOxD133o7LL78UzdKjK2x+e4u4onfnnXfi4MFafOOeeyDDYdWwtExiULS8uiAO+XJzclFbewiPPPIIbr31NmzcuFGvn/nUp0Vzk04zhr9ukYCLB1UjRuCb93wTN954I959913cfvtXsHTpUuTnpnBmr6O8ukOJ8oaUjBtDSfFE2J61DfYSUhYo06ZN08LnB4k6gZw6yQFmVrQj6MKdMdc23oU94Zdc+tak0fj3UZPx1IKZOK80X/xEci4WKZh0h1Dsyk8yFAux3EUo4YSa2HOfJfP7WRkGfvWub+CxRx/Ft2Wsv3jRcdaBVbH8pYF4Cfh8eOCBX+Nb3/om1ry7Vl+uM5qIlkkMipZXAqIbE1Z2bg62796F7/7g+/itxHfFpZfipz/+sX78zIyMnf5jEUtUKzQngYMB/Zri/b/6Jb7whesRCvjxlVtvxU9/8Qvs2L0bHhlyqhaVAnVVXpzDPf3UU/UMFu4lys/lPiRg7Ohq4SmsZnaqGMx9W5HEOSiZ/DPU3yZlUxIoVBl52j3HxOeee27ncRs5dVJX6MpdxFzbuM0+GmfEXiFG0ulZFYpvp/JBa7YYxKIIbLcWuvITJcsNbzua0yAGnG5slLB3URftbpguzjd8/et3Yvnypbj/gfuQJz1sst+JToU4MXzffb/Etddep4cCOe21TGJQtLxSJPph+hjX3//xD3zuc5/Teabv3HsP7pYh0cKjjkZ+Xh6ysz06uWuI29crhwzFSSeehJtvvhl//OMfRQu5CZMnT8Wzz7wg/H8SP/vZz7EnclyAVTfa402FuiovapP8QsGsWbN0XmbcuHGcHlTNjitdF110kZ50ePXVV+Gqq67ST/qWlJbFDDOV/EtYh0iE7Vl89BpSEihszFQTuQ2YaqR9QlFBTp3kgPZKjDWBO2Ou7ddmH40zYk9wC7f1upUMF2RAz92q6sq4iUUR9x2grYHXWBRCyUnzMe6OT2LMHZ9F5bmnSEPW4mx3EwtR/50pGQ3F6Ubzwu1CXWMTPvrxa3H+uefgIx/6kLDOPGh3113ihd9V/t73viuN8Vo9lChWT658xKBoeaVIxg/nX3jPOHfv24svfvlW3HLbbXj+hedRVFSAubNn4dRTjscpJx8vQmYexoweiQP79+OpJ5/Et791L664/Erc+4Pv4d316xCQn25pF/VB652QM95UqKvy4js7//znv7B16xbdp7XqnTXc7ISG5ia4RAg+9tijeO211/D440/gwQcfxDtiz76R/pxhpZJ/CesQibA9i49eQ0oCheD4mcSeoBPIqZMc0DQl4c6Yaxvvwj4eNB+Nm1ikLvSmHdoaeLVIZZeQxh8UQZXFz0rKUEB+/nAgEokg4i4mjF0MSti7qIv4btjb/vnPf8Hvf/97EQDfw9SpU3UlJppnSZJxH5YhFHvWz3z2c/j0pz8Drzenk1tD8cJPNW5Dxk8sv/wEK4coe/ftx+uvL8G//v0sHn/qWTz/ymtYt2ET/IEw9zYgkBWAz211FNbQQu5jhNddSlRenMdrEEG//8ABfebpcdwawHtfZH5vX00NWlpb0ebzo47L5zHCTIXnhHWIRNiexUevIWWB0iXIqZMcYGZphumDjZyImFu9lfFgQzx/EagP48ZJCt7En0Oh5J83ZxZOP+1koVP07U8vv8InTnjgsDkusEM8sWDsYlDC3kVddO1GD/MRjeXzn/88ckSb+PY3v4Gq4cN0f4XC4T4W8cJl3Gs+ejUmHTEJd8oQw5PrtcK2ubNTvF5UZbLDLBkyfmL55cVUVNpTI2Xq8iVvTisrwafGD8UXx1bh5nEj8eXRI3BN9VAsKC5DQMqLHxfn+bvq3xZmd8hZFvoyX4RYR+1kt7PbB233sdylTAnqhxJhe9Y620tIr0Ahp06KQNIuGRgxNomM4Y7QdEfMeeXW+06I4c8O9WHcOCkeGE/EDY/fO/PU0/CJa6/BdR+/BvNFvVYrOok4iyLiJyaMXQxK2LuoiwRuIsQ9FMveXo6bv3QLJkychHvvvRezZx2J1uYWSQx7azqztg0aollrUzOOO24R7v3uvfjb3/+uKrmuLdnyIhaZ8ollHs+uKzJ+Yvllo6EQ8Yhk8COI6txcfOeIsTh7SCWWSvp+vG4r7t6wHfds2IFvrt+O323aiZpACz42qgp3TZ2Eo/K9aNOxFD8ST60luTx1kr0sckR7y/XmdaAcxzUW5cUwc1JX/p1EPhLXo8g1QuK619CnGoqmTcxYnl254+CSexuMO706EcufDSaumBQP2hp4tYh7ZHTORv6c854d0FW4tvCclLB3URcJ3ERI24hQTl6ubgy86aabcODgHtx442fw05/8CBddeAEmjx+H8tISjB5RhdNPOQnfvfc7+PKXv4z16zfhlltvw6H6Ois81opIuKmS4SOWXVdk/MTyy6Mv20TL8KMVP5wyBRXZwB0rN+Kve3fhYKtPhKkXuR43ckRT8/IFQ7nf2NKKX+3ahdtWv4d6GXbcO3Mcjs/z6qpRsnnqJLs/T7ZHN1naiXOL9mt3KRX/5MPOY0wibM+d6m8a0WcaCisKXwLLDvmsgYbai+AIB+EOdpwcnZOfg3unjMf3pozDbZMm6Lb2TnCE74T6MG6EWClDjJnDFbnXb6XowSw2MB6bH6U4cEuP5xb/fClOAkVAHLupgjlZdYZno8Q9C10kcBODeOFnTLdu242f/vR+fPqz1+NfTzyFXXv36s7bgw31eOHVV3HTzV/GD3/4A+zavRvZHr6qL7GJ5+5oGIa669/4sfvlPc+NFgmBEa4WfG32eNy6eiPebGhD0MucEeEh1sZ9R+LXEqWMpWq91xLCV5ZvwsZAE348fwaGimjiMbwhVv+YfmOTvSxaRWBxmGinZsdzLPOu3Bi7ZMJpJ9FAbTzGJML27Kyi6UR6BQo5dZIDfLvlHz8sx6M/KsUTPy/BpNE8X4KN0gJ7gWJ3FibnuTA1zw21tqpNR8QJ30Dz0cZHbtUwjP/K5zDh1usw4eaP6cfIOX3XAdoaeLVRPIgWdftnhuLR7w/BP74/CF/+eLnUYVZQZ5jxKV5PyRfTXBFSOOxTIb5LxfBaWltQ39CAmgMH0HCoDi0NjSoGpZNDtlQDHuQcdnn1NQc9ZSxGWMmQymSHWTJk/Nj96hxD2I2jRCU5sWI47lq2G22uoGQ9RV+7u65J/on7UHYQu9pc+NySlRhbVow7JlUjhyXQyX18speXeeHR/rNcdP7FM7f/6Ma4SyWcWKtEnYiwPTOk3kKfaSgGQb6XGmyAJ+iDSyiL29LYEA3C2eLNpb0LK5M7JNVdNAEeytwBccI30Hy08eGXhhWQ7sonV59LwpPmRK2lA/hs86MUB35x6smqk3BahUTtDnF7XQzB5wzPRrG0D+4pmTplKo4+eiGqq0dLHkiYDjeJSJubCEz+skIhPc5wWLYL8wty8dHhQ3D3hGr8YvYU0QBn4KZxE/CJsZX4dPVQ3DFhGH4yZwq+JdrhJcMHY4Q3Ww+eJk9ZUhYMj39dkcpkh1kyZPxE/cq/YMiLD1UVIeAL4v/tqkPILXVGh6AxyikhZUn588aF12tb8PW16/HFSaNxenEJwgHWP3YvYt/BT0eyl1esskuGupM3XVFSfBC2Z/HRa+hzDcVCxMLYm0QrLI/OfOiELsOP+DFuSJFANLx4/rQ18GqjeBA7zq9oeHw02oQT9rAcpL4dZgyHL829/MrL2LRpkxjQsKObrkg1r6AfR+QX4OrKIbjliAm4cfwYjCoswJq6Jty3ZQ++uH4rPrV0PW58ZzW+uWETfrhlJ360eRfufncrPv/2Cnxx7Sb8cct+VIqmeMuMcfjEqCpU5EqT43JJjDjtpG3dYZYMGT+8Msn+YBi3jqvEkv21eL1BGnusskmRGC6vGpc7F3eu247ljbX45qzRmFGYJ3Fap+c5/Rmyl1essuOyMesEtRe+mmLOk+WXAvVe7KpGVGHQ4DJ9prme0SxX1iGamWeGxTCCSpY2FAgEMHLUyA5xxuKjExG2Z8bVW0ivQOkCrA+caFcJ3SW6dtBpd26P0LOs5e7IrsDQrRfl5C6JqNiB8pgH6jmsKPwlTq1UXMmTFhEic4oKcOuEsbhxwmjke9z41fad+Pq76/GtjVvwRm0dmtxuZHtdyGWobhk6iG8S4+X3fVg4WaJv8Z1rrzcLS1p8uGv1Fty3aTvmlZbgq5NH4thiaXhtbDgU+umvPpyTyhVh8v3p4yXendggwxSXvmGfXlCb9MiQb2/QhZtWbIBHhOddR4zD+ZWDUCH5RI3TxZn4JEBBMffI2bjqQ1fi+OOOxTlnnYUrL79UD2s64bhFOHHxsTiF5zDPnImC3DwsmDsPZ552Gk4/5RScdcbpuOrKD+k9zebPmY3PfPKT+O637sFpp5yMSy++COd94BxMmzwFN93wBWzbskU1xv6K9NYIptNJCZG4ydihqy56E6E40FCNG5s7bUTRZ0fc7Lrsfmz+OkHs2KQ0PMukA8jn2WefjQvOOhvnn30OKoZUdAxX/XeMj4LktKqRol3k4tjBFZhUVoYABajNTTuJuOHV58cXqqtwy/iRaAj5cPe6Dfjhhp1YVl+HHI8X2SL0uMlL/Qiiso3/4hERuZeBp0gXNx7fW4OviXDa5Q/jxsmVuHnSWFRJYKFAUIax7TwyfM3fGNTVci398HT/K4aNwGVjRuGL0shrXfwWjVjY3KWNiMg1W4TJ8tpWfPm9TXhh/yFMKPZicskgBHnStM1PvCEP78sryrF27Vrd9Ll//35s3rwVVcOHa+PnBsF9+/Zh0+bNerbN3r37sHz5cix5awk2btyEweWDsXPnDv3CIJ83CT3//AvIz8sX813YunUrduzYgUce+RvmzZtvdaox+IhLhO1ZfPQa0itQyKmTImBd4ioPrx1hUpwiHOE7oaEaNzZ3mqfx/Glr4NVGDtDI6tElHLlqeGrTEdw787FrLsdHr/4Qrr3mKoyoHCbxiicTLv3Tp+05JKXx0p592OoL4K1Dtdh06JDkGTWHdjc6tyR9a4405LunjMUHq8pxvwxjfrhxN9Y3+uEVzcRikCtQ7f66S2TZAr+659Xl2B9s2I8fr92M0sIcfGnCGPxs+kScVloIT1hUd78IsFAWvKKaeUXTYAULiDakR0OqFsSPdPFZUi9hU9Nxh1pwVfUg3Dl1LJ6t2Y3fbN0GVzZX4ZJYEk0DsVEy7/Mkz2olX1+tbcGqhgYx7Vg+9vJylt2TTz2FJW+/jf88/zxef+stvPrG63hF6L8vviTmy7FyzRrUSZi7RbAsE2HC66HGBqzbsB4/v+8+rBZhtH3XTjX797PP6jEPf//nY3jl9dewQobAh8Qv7d9c8laHeJ18xCTC9iw+eg3pFSjk1EkJYVKcIhKEr6HG4EPzNJ4/reG82sgBY6QHS/MaoVgIicTRsbQQfTp7bmfvwqXMtlBAe2qO50MhEQ5hUoRnidOX5cd1Y8txxYjhuGPtRvx1nwxl6FdavvIRCas3ySPMcIJzbX0rvrVlK65f8S5eqm/G+Pw8XDu6Aj+YNQE/nz8Nt00dhY9WVeCCknIcVZiPqbnZmJafjeMKC/DhiiH4zvRJ+Im4Pa5iMB7cdhB3v7Mde/kiFhMSI97DTfbycpYdn2P9eAzFIZ7mLz/C+t/un69P8PQ3e5halkK0o5n1E0Tc82pIbWzPMYmwPRseegPpFSjk1EkJYVKcHKJzKAnC11CNG5s7zdPosyPuJDQUmvEUNvYMZEXDs2ziQ8PlhF/H8GP1LvoCm0Blm/TkuhOL9yEvhuW04GezpuD+DVvxa1GbdcDFSpfFl+AifvuAyFtA0sKr7u9xZaFZNKl3W/341a69uGHFe7huySp8Zd0e/Fqe/3ngAN7e34gNjc14r74Nrx1sxO9kWPDFVRvweXH73MFm6AkvIlG5W0gjicTVn8heXklpBjFI614CSsaNoaT4IGzP4qPXMOA0lF6bQ5FSpNahbV79xM9540vDilAysMJtp4S9i7pw6crNuRW5OKp0KD69fCNCnjzlNaafPiJnWuzmKnCFPel7EczyyL0LbfxigTsHbZ5sBLnDM0RhaQlC489+7Y9kL6+EZReHkklfKnmQFB+E7ZlZ3lsYcBpKFAnC11Bj8KF56vDHvQ0+Ga4HA23wBwJoDQZ0+OF0R7CwaUdoWBHqEtr4OachV4YZoYS9i9gzrqtGVmFjcyP+ul/G9S4e4JOeZdSekOZNDDJ5RkHBWzMHpBVNeI7OS4gJ55n0Vv6Z8OKF2x8oo6EkRj/UUJzPcZAgfEtyR3LP5o6haw9gAx89gTD+b94M/E3G/o/Pm4KZZeYU/478MEgzLNGwItQltPFzDkWuDDNCCXsXsedw4rFd27G8Nay9OicxY7rtY9I8jEGRpHYyZ9JDOpzhubgiEMWAgpENgt/zMXkTL9z+QPbySkoziEHJpC+VPEiKD8L2LD56De9LDYXDIi7Vm01BwbC1MUjtSA5/fAyF3SiRmyKSS3pPZk0c1oz/SH8bz5kDwgH92Shh76IugqgPucEPdLLy6BRSPyaVdw4zEi/cGNfa6kJTSwhNbUH4AjkiWySng/xSgOS3OIrlt7+QvbwSlp2Q2dhm/WedtLQ1Ep9ZN7mJze7HTnb38SgZPhS25+Tqa/fQDzWUJNFV+NLqLjrvHPzu178Sug83X39jZKUlkqdx/GmQ4oBf8qMmYIkLB8TIbQUlbjiJmEQKtJVxPwivfLYoXu9SKAKtTHjIdcuzY1a/vxPz1iPSPAS+NpEFv68NJ8z14pe3V+I71xfgUxd6cfVZObj2nGzcfk0Yv/36CFx0mgdZQRnO8WVNfd0idr70HnEqmK9msCT5CkXs+O3lFa/sDHHl/ht33YV//uNv+JfQY39/BI/97SFku3iqYBhHTBiPfz36d7UfU10d9aMr/iJopk6eJHX4PDHuOp5EfCgRtmfx0WtIr0Ahp05KCJPi5JDsKk9+fi4GDSpVKi4qiphG8jTqL3bcXXFkj5I7ZTU86zEhNF4bxepd6KaqoAQTSypQXVSqQsvppr8TV7OmVTXjvjtH4CNn5OGlpT586u5tuPXH9Xjgn0E8+J8s/P4p4Jv/58fH7tiGR5+tw2nzi/C7O8di3JA60cn6Ns3UIESa4KrTglg0XeoKBVsMd/bySqgZCL56x1dx3nkXKV166aVYsXKVfp+osLAI5557jtB5uOD8i7F16zb1w3rEju/hh/+Kwvx85Hj5OVuBM2wbZTSUTjApTg7JrvKwmijpsmv728yap1F/qcVNsMGbj3dRg9HwrMf4YITCR6I5lEGDsjCtuhCNuYfQIA3roKfZ+kKizU1/JC4hM5vd2SFccoIH3/viEOw9EMA1d2zH/3uWw06q79I4dIlb3GYFpOIx7yQHRSsIhHLx1JIwPnz7erS0ufGrr1fjmJk+5MlQj3t5rAltawbGGXfyZMUopQceXYFAtq6eVZaF8Y1PluCzl+fh/z3ejJdXtokrqS8xwkhFQyGvFoUlniA+9alP4qtf+7qw4caPf/R9fP/739f3dfziggPyyJ+0SBfOv/hS7Ny+W57VpEO4TspoKJ1gUpwikg6/IzRPu+EvFlhBTTklg0QaSmF+AVql4XDOp67ej+bWAHiEod1NfyPmQZ4niI+fn4cvXDEYf/53Ha7/jgjDljwdrakbhx8nWccZyq0Il32H8nHtHTulN/fj1s+V4eNnuTGkTIRBK8d/XGru7L8r4soa59NCARmGtfpQlh/CtAlBfOJSD350yzARKD7c/MND+NmDLdLYc8VPxzKxk728ktIMIpSbm4NhlcP00e/3oaSkWA8Af/ihB/ELES4c4tjDs7RweTaImMeipPggbM+2kNOOAaehKLJErod4+hYPI3Yj6OYnWZMLR/M0Kb7iQPz21hzKtu2N2Li5GXtqXNi5KwtNjQw/hLFjPAj5ObdgHb5s93O4iNvo2wJ+XHdWDq6/dBB+8dc63PvbOri8RdIgOA8hVSuGv3ikZSLEM1fhCqIxVICv/OQAfvG3FhmGuPDVz+XgE+eVYu4RbhTkB+Br9qG1KQxfaxj8LlhTSxv8QtmukAigMKaMduP4I7NwxWm5+MIlBbj1Yx587fphOGVxCfbXh/H939fjC/fswfKNOcjJYQmK8OZW/wgfsSgVDcUQ52YuPO9cfOm2OyTPROMKhmUIXohf//q3uPiSK3DPt76DW2/9cofw+IqK/VO89vCc9P7WUNICkwOxQend0urF9Ze78fkrPLj+ymzkRdTi1NF1XLFgLwxuke5dSHWRdO3f04pbrnPB75aGykp/2CDplb8WXwAXn5iPu64ZhP97th73/v4gct15Ypd6fnYFDlJ4WPbDLwXx1Z/68LO/HsSh1hBOmpWPz15ZKEIiH7d+tAC3XJOPL101BNddVo5zFudhytgcuEXqb9gSxkNP1eLbf9iPr//aj7t+dhAPPdGC3ftcyM/LlvKLRNSLYJZceeUVaGtt1brDE/P47SGfzweP3O/as1sPQOf+p/cD0itQNMccFAEzNvbxBalVQl0SlmHACXPCOG2uW8gF6b915jwZ0JWq4Aobg0mC/nURIuJVw7NuE0L92Cihuir27KnqZfjw8BP1OP8EtzYCZzh9QSF3CwIBF449EvjBDeV4aUkbbvvdIbT5ODfigV+GPRwAcq6jO/wZP3a/vOfbLC4Z6niyQ/pBdQqJx1714xeP+HDvH1tEWDTje79vxo//XIcH/t6AR57z4fmlfqzaGMaOWq7Z5MqQIw85/Ba7CBkzvDJxpEL28kpqqCGUm+3G88+/FD371Zvt0k9/eDzULUIYOmQIli9fiTyx58fz1Z/CVqts4TkpKT4I27Mt5LRjYA55FN3zp3maFF8JIGEwmEgZJQWN10YJ1VV1wRfHAti0OxcNe1swf7KMt3UpWRw43aeVwsIv+ZMqKxJ0vvT693+tHBvWt+FLP6rBvjogjx9Kc/hjGp3pTIaMn+T8Wm8xu+WfIQpaLQfNF5Jxmz6yl1fCsovQgvkL8OCDf40+098XvnCjftP517++D3fdeRe+970f6kHbr7/2CgJ+S1NxS6KiR4DawnNSUnwQtudIqL0Clkv6QE6dFAHrZrqOL+BavZnHSBWap5146AYiYWh41m1COHvGhL2LupBGK60sK+TF0+/kYEglcNTYNgSyvJZgieUvDeQJufTYgWOmuvDLr1Vg085mXHf3buxulOGEh8d0xuZdZZDDLBkyfrrjt6/InuaEZRehl15+Cdu3b48+a/pEUJx97vm45tpP4eOf+KQoeC60+n044aSTVZOhJr991278v78+LF66jicpPgjbs/joNaRXoJBTJyWESXHfQPM0Kb4SQMKwlVFScPa+CXsXdWG5CXpa9UNjj/43jJHDC3HmbJ9+6Y81lB1yJ78pkQwrqInIPScNvZ4Qzjo+jJ/cOBxvv9eGj399P/a35snQUqpLxE88TYLm8ey6IuOnO377iuzllZRmIMQ5P121Mc8k+fFYAx6+FOtby6nkQVJ8ELZn8dFr6DMNJT5MivsGmqdJ8ZUAEoatjJKCs/dN2LuoC8sNV7NCUvl4vPaDLzehoTmET1+ag1CgSd118ps08X0hPxpFkAyr8ODzlxbghitK8NjzLfj8d2rQHMiGJ4tzVIy/3Z8zLXbzeHZdkfHTHb99RfbySlh2EWKeJZNvdkolD5Lig7A9i49eQ59qKI7HCEyKkwfD4d6k7kDzNDYjqUHCYI9uyikZOHuehL2Luujoho0/O+jFa++68PvHDuFbN4zGxOEhGXtzWZpuZCzIGmnzY0h7RyE+0g1fL2hr9uPYabm491OlmD85hG/+oR7f+U2r7sngZGhXYcUzj2fXFRk/3fHbV2Qvi6Q0gxiUTPpSyYOk+CBsz+Kj19BnGgoziZJaM6sDnAY2T3Fg6nh3QH/032NIGLriIrfJ8qLx2ihh76IuOrphBQrzTAO5NrXl4qbv75MhkAffvrEEwwe1wu+3zh8x7u3Ei/Ls47d4mvHZK3Jx+8dLsa/Why/+fB/++WIWinJcCLn94ljisflNlrRsHGbJkPHTHb99RfaySEoziEHpTl9SfBC2Z/HRa+hlDcX6Fk6+XN1Zbv2wUpuoz/BUwOV16xfzecxhdk4W+KFvErzMIn7kygtxgEB2FlrCbQi7+bqZeHW7EA60iVUh3DkeIXETauS0uMQh/nmuiWQaZ8i9uV54vfn6yUYuNXPc6hV3XrcH/qxmaVX58EgYPES4DcKXi3sTvOIuWwRfQO1ycvIknFx4JKfcoSCyPDIEYFxsme584T1XyKtpC4lfl0hMt6guwVALPGHxJ/x6smW8LHEn2npvXSgMrBlnnsuup7zZ3DiJq5H/XZKFW79/AEPL8/C9m4tx4xWFmDTCh1BbC/zNbfq1f7+vUQRPAB/9YAF+cmsFTlzgxW8fasE9v2/C+u3ZKJC0WJvAO6/cpEJkVzuNFMn46Y7fvqK+0lBSof6moZiwo9fFixe7ampqXE1NTa6SkhJpG2Fvfn6+V657Im46gTPRecWDI0/CszQcXVOXxlFWXIJ8afTBAA8ptt5C5XJkwNOqbt3BXGk0fNfGpFyEDxNNdcbrRdAdQC7PV5VYsqUxV5SXY8fefeoOrib1lh0ogE8Ejkf88KxTbrf2hCPv75guQRqpVwQFsrldyjIXGYchw8uwc9dB8UtehDfhsUmcUXh4HZvlgsInPzqmAksCyRHBEuA+M+69COXDC5/YeTQ/+KWVHAod4YXfWuFeiFWrVmk4PBk9JydH8yj6bpKAHzabN7MC+w/uQ/ngfGzffAieoips27Yr4qIdnOiz/LbzqHtAREPJ9waRn9eCMcPCEk6hmPuxf78HO3YGsZ+rNy2WcKaQa4eIcWGXvFpbv9MH8uniCfIOmLR3Jz76tftjh8HnnvDu5DNWeNIW9Crto1txMcXd57AzyHNBQUHkKQ4ckVKo8fFQ7b7vSBrYEJsknEa5l54Z9ZIHDZKfDXJtErPmQCDQ6vV62+rr632S7oDEF6qoqAi98MIL7PmsQoxcTTTRa48ESiRoJtISKEBZaSmaGht1J6CJmTDFZvXF8UHGSAyT3+sdMmQIdu/cqXax/Kpb69YBckndJ/LE8ERzGVE1Alu3bVUzE178MBIjGr4QeWalY9qnTZ+un1kgjEBpFc2BDcGAeeL1ilaUHRDzIAJ+EaBDR2LbTou/WIjRTIU6cKHvskyfOR1rVlKgGXvLLlWQ3+mSltWrV/e48R5zzDF49dVXIyY9Q65okQ0NDcgWrbe7YG50lSNMb16efhsXzc16Cm6/gBFyycLUmd4QKKaLitbA0aNHZ0lmZfn9/iwpJMYtIxPR2YGb1EUM0HN2jiTK1FOBMKH3rW2t0lvmIb9QpKg88wUwNuTSkmLpDUPwB/1WxTR+HUQhMGrESFRWVsrQIRu5ebk6D1AlgqDV12bFQzj8xSKt/0L8+ho1HS+HWAK+sDV69Bg0tTRL47fmD5x+ExH5HF41HMWFhRgxokrC9mLkyJEYNGiQ9CD5onUcQFtbm7plL8g80LiISBi8ME94BKVP1KCAaFyt4sfnF38E45GGqAfv8FEygn46ot3ELfEwb+naJ3nlk7A0r7sB8kxhwvhbW1usreM6lKRGQxfJh0s/BHmpqzuk/kOUehGz1MAv6lnh6btV4t8efiIwPZE7TR8rF6/0q/4ZhCEBd+vy3id1xm7v9oi2KnXR+vibhMlgI34MHxpT1Cxy30NivWNdi2UXJcLxzEtra9MrwhsbECuiT+75Ulwbr5IvfPaTJD8C0gkGpf4GRS6EJL6wCJXw1q1bTeZFkV6B0l420R1/rPRjx42TxjVKM9zFORCpPB4pmJmzZmHrlq3RDI8Fuh1SOVSHDPzgt8ftkWsb9h84gNHVo/WjStF4kwALYEjFEOTm5yFHwgxI5WuS3qamZj8mTZqkH2SK1UyTQaloY/n5BfqBcvLozc1BXUM98sSsUXpPXxvLi3VWBIqkg8PA9gptJUOfONTi0Ep4G1U9Cqeecqq4DaBABHNOthcnnXAihg+v0k+VZklDN/46kCThmEWLRHiOwuCyUuTl5IopMG3aNEyePBkbN24UN9TaYviNQYXFRZg9ew4qhw3D0Mph0kEUYujQoZgiYW3fsRNBSUcsf04qKCrEnLnz9P0V0YRRNngQKoYMxQzRephHTaK1xfIXi0S8Ydiw4Tj/vHOxffsOTJoyVRvq6aedjiLhd/tOa6gYyy+JRyPMPHIW8mTIUFpWhoULF8IvQnfyEZMwUjqxLVu2iCBtHxaynnLYTZj6bXDJBz+IsVIfRRpJB5qL0WPGaH3l2Q0lxcUYK888lydbyr1K8pBvlvOjXz0F62qqWpnRUHpDoJiWE72me8jTYyTTtjslKwEiYbItd5BlqYbjRCJeI+HHG/I4wSZKt9RsvKINcFI5FAyqhsI5JQrneDxLRdDDfPReiJXIJWGxF6cWxEoYP+bO4NyKJTIsWN+MkeiFfxc/LpYw8RZUMyNfwgcnt7MkTX7RyLK4yYtaUMRdMmAa6cfX0qqaq4/HKZJFaijkr4v8UQjLFBDkh2ExjSo+xJxaDzViu3e6iTXkobm0G6xc/jamTp0qZebBlm3bVODnivaQL50XNWAKp3A4KBproWpRr73+RpfsJYv+NOQxtSB6Te+kbM9BLpOrqqnD5ERvhR8PRqA4J2UHEuKVS3fz1IQXL9z+AtN4pX2oIDGgMDLDQoJ2fCa0jPWPc3giuMQN39Wx+7cjlTxg2NLAI09x4AiwNydljbBKDxhkmindy2x20ox1mPUl6dAqhvlAoHj51t08NX4OZ3kkInt5OcuO2iPNeCXZt9TTXAUMtSa5qmYmP7t/O6WSB12FEyXC9iw+eg3pFSjktANJ8D0ka5NW7xDD7s3w45NkjvzpmlNM+/5P8fKtu3lq/Bye8kiOdMgXqdv2+1SIc1uxzO2UjBtDSfFB2J4pV3oL9uj0mq45FFK65dX7Bda5qlxNiBhkMCBgyo2QYYBe+wM4L5UKTKscMHMo/5NgdppczCCD/gRH3eSQio8DamNbf9n4w/EsVwA4k8+9E/0B7FF0laelVZeG+wO4eiEVSMuN5dcfUFhYqLxw8tpMdmbQGQX51h6vZNGbGkp6xyRMlJDOZnPTVRqIG41imSdLmsIIX53teh5+dyiaT1ShY9gfDrKPxWPZOylevnU3T40fu99UeRoIlEzepJJ/ph6ZfIpJhO3ZSIDeQHoFCjnVtEW4tpGm2UaJzI0d35lxunU+O82TJYZNcoaTTooVryFnPsXy6zQz5k4/djMnJeUmwks8nuxmpHj5Zs9Tpx+S3a3T3H7tYOfgKWreDYoVTl9SMjykwme8vOlAhO1ZfPQaek1DMfdRM1Fd7UYE1f2wEPsibtji1dr6zl2M3Acp4Yi/6Nfz5KpuI8+8N+GpNd3bDboghhHU8NqNKfBDujlKwme8HI7IvZ5uz2FANA3WvdVBWGaWXUd+1FsXPNnt9N4WB0Ez/Ym6H3Gmz+Z7uJoGbvcWc5MnvLLnojs+8xpZVIo+64OD7O7tZrwlT8ac4et2+4hdPNK0OAw1FDEPRsq4g53j2sEuEre5Jw+q3YkR44l01J3IykvxS/6VZ5vlYaJY6esJ2fMmLhG2Z/HRa+idrfcC+9bkExYfp898GeyIIyahsnKYCpD5c+eKbRbGjRuHUaNGYujQSpx26ilobGzEpAkTrTeLd+zAF2+6QRtOTk4ujjxyNsoHDdIt+9xGPm3aVN2BeOSRs3DRBRfgxRde1GcDGQNa75wEpSEIGfzge9/FqJGjcOgQ3yXJwkknnYT33luvH2WaPn0Gxo8fr+/knHXW2Xj77WXK+7Bhlermi1/8Inbv3gXJK7S1+VBVNRw7d+7CokXHYs6c2aiursaYMWPkOhrbt23TRmSHc+s9M5nvK5WVluDmm7+EoqIinfMZVFqG445dhPXr1+tLkXw3KCDmZ51xBpoam6QnC+Pss8/Ghg0bcO3HP4aGhkbMnD4d48eNxcKjF2L1qlUYLnk9f/58fXlu7uw5uPyyy/DC88+rkLRzxR2jzAcZL2s5skxPkTzh/MUJJxxPSYKJEydih6Tn4osuwvDhlVpefFGQ/MqYWtNeUVGOCRMm4FQpx7zcPIysGqFbzadOmYJNGzdhzOhqXH/99RrHls2bNU4iWgEjV8JsKTf5RLuLL7xQeNiOcZK/zOPLL79Mt90PHjwYM2fOEL6GYdKkifrM1zIuuOA8lJdXqDvm6YGDBzptm+9L2NOXDlBD0bJLIWSjRfTG1vte11BYXw7VHsKJJx4vjXC3NIoRUuATVIiwMVZWDpXGUqGFfdJJJ8Lv8yPbzYoUhlcq1EUXXoCNUhHnzJ6NwsIClJWVSpgubSCsvMOHD8fFF1+gkS1ZsgRz583FCIlDEeHBSezBX3zxJezbt1crIL8zO23aFKm0IcnkNhEMxyivbCSsyJQHW7ZsxowZMyT+Mm3A48aO04rKr8BNkcaSne1RwcVGzQnOkpISrFu3TgXljBnTY35lP5pPfJSMuvCii3HgQI1qAPQ3deoUzRduvT/jjNMlfLe+h8NGXy4N5txzP4BVq1aq4KOgqxY/5eWDNCy3W6qYXOl/szRc5jMb3JYtmzTPZs2aEZMXO098e/f000/T934mThwvaR4jpmHJgxIRNG0i7Ldj2bKlmCd5TqHDCd2mpiYtm71796qwX7jwaP12Lxs333WaK50I+Z8wQQR2VRVmzZ5laaqGj8jVTnbempqaRbAPk/w4Q+Jr0g7n7LPPwplnniF5d0DjkcouZTI5shMZWL58OZ599lnJm8FSN0Z2Cr8vKVb6ekLR8uqKCNuz+Og12KPTa7pWeexb7/kchajv7FUf/dc/dQWGoD0rv3GnGoXcs2HRiG/Ncpafblj5OKvNRsYt7GwwBH2Ktd7QHYngygUrON0Zt4QODZTzMIoKi7XxvvHmG2rGuGhOTYLuyGeJaA+1B2utyTD5kQ+9k3i8OTkiCH3ao5Ivgmkhf/RPnuzv3Zit9/Z3eRgfX4QkaDZ37hxs2boVBw8eVD604kT8m3uGyXdOom8Vcygg8TIcrmyxJy4uLtaX0Ghu8pDEZ+aNAfOIz/bXAcyViMbJstA4ZCjINEke8AXBd955R8M39uYjaCYeszWdb+u2idAWJiwtKWIfC2abu/OdJ94rbxKF+m1nU2HK1uKFQ1bJP/LcRVwDGezATH1PBiYHBsw+FBY4K0EscMKO0OqRfB50G6xAsQQKYXKiD9jogP74Lg/5IV89Xe7vbp7SH/2YK2EESn/Kp57Cnr50gPnCfOpSoDgi1Qlqufb/ZeMkwIPYSMnmquE2g/6FTLn0HgZy3qZXoDAnhKhumvueUm8u9amkdpj1JaUzn3pKhpdkeYqXb93NU+Mnlt/+lE89pWTyJpX8SypvCNuz+Og1pFegkFNNX4TrNFC6J7HsxLB7M/xElM586ikZXpLlKV6+dTdPjZ9YfvtTPvWUksmbVPIvqbwhbM/io9eQ0VAcZn1J/annNbwky1O8fOtunho/sfzaeeISafWoamsCW/44YW63N+bKh/zMUQIlxSV6Ul/UPvIz/ux0xKQjrC0Gcm934/TD5ezp06ZHwyTleHNQVloWfTbE46gmjJ/AGWN91gUJ3tr8kkz+kQfatfMbsY/8ou5t93GJsD1rWL2E9O5D4Q3TF27ffJUsUdLqxFLkWWfquUGLRhEzOxl7p7mT6Ibfi+VEMcluZ3qCWOGTnDxlSZyKGPFyYpqZxUe5jenGECeKuZLlPFM2FbKSIjHqttTYbnghT2THaecknolKvnTiOoa9nZgvLGNn/mv2MFMl0mTzNGpOI9uVZub8VpNP9Hvc4uN02X7K1CkYNmQoZs6Yrie+8b2fhQsWyPNMPW+EWwxyc3JwwvGLMXzYMAwqK5PG7sWokSPFzQxp0Fm6zL5rz+4O/OTl52Hn9h1YeNRROHLWTN2EN3/ePHXLPUC8HrXgKD0TeaPwMfmIIzBr5iwNr7S4WPlqbmlBXX1dNEzyPWnCeKxcsQITJ0zQvVZVw4eLgBmvz6UlJagcah2Dya0LFeWDsWb1Gpx80ok4+qij9Uxmxn3mGaeDp8HNFL42bNygfDNs5lOsPI0S4XjmZeCcKStIevMQ/QidcPxx2Lxlm0rw2UfOwoc//CG4pWexnznL/+w5pk2djKuu+hC82V7dY6FSOg7oN9bGNoK+YvlkeKx83PuyY8dO7V24NPuJT1yL2bOPxIrlK6RBW4mlf27aWnzcsbr0zD0p48aNxcZNmy0BFgPOjW2pgBVudHU1PvGxq6QnLMK699ZLGk0xtoN8DR82FDzjlntDEsG5sS0esiUvLzjvPJxz1llobW7Brt27NL+4CfGqD1+OhUfPx7tr18LX1rH8mc683FyMqR6NgwdrI6btMOVgL4/OG9uysHvXbt0LVFhQqJsSebYwVzl2iBDYX1Oj+4eY3hq551GL3IOSKw2S9hRMPJYxEJTwJFweAF5b25EX7oOaMnUqtm3bpmfc1tc3oGb/fl2+Z9iMk0vgGzZu1HC43+gdSe+e3Xs0r7kP5tChug4vopLvJglrnAgQ5vGePXuxfv0GXVFbuXKl7p8hvwx3y9Zt+jxx0iRN27vvvqvPPDuYq108u5d1vrGhUcPirz9tbHOWY68vG9vBynvFpZfojtNQ0I9vf/9HmDBmDC688HzcdtvtuO66a7VBv8xPLUjmsTMeP34cLv7ghbqjlDs2iaf/85xeY6E7y8Zhfxif+/ynMGzoENz8la/xc1t4+ul/45RTTtMT7O+77xe45LLL4c3JVZ5Y8bmxjeBmq9/+9je48iNX6zJsLPRk2bhcGtPX77wdH/7QNboB75iFR+Fnv/qNpKFdeHEHLQX6M08/gTvv+RZekfxLVOGSXTYuKSzSctu7dw/uvfc7uP/+X0tD26ub915/4zXdlPjMs0/hrDPPRcjsERB87GPXYPTI4fjv8y/iv8+9YBnaQJfk0FyJWMvGFAps9NQkFJEoWN94Lm1xcRHapGHGSi3DYN2MVy4G0ohUA852ZUu9DFirkgJ2TCpwI2CcDMsIPq2jQmaPkh2MOyhheSV/3FJX+GkVuuDwprGxAXl5+cjSs3k75kEiMNz+tGxsctZE1+caysEDB/H3v/8DJ52wGC+9+jpOPvEk/OlP/w9uGYsuW7ZMNJGr8OKLL2uGMR4ReHhOKmRLcyveeWctbrjx83jyyWeswGKA/pLVUMwzd2LyRPfq6hF48qmnUT6oFJul59i0aQt8IpTmzJmFt95aKgLKSiPPCPX7g/p81pmn4u+P/RO1Bw+pXSz0REM5QlTsTdI77tpTozx95ZZb8NeHH+6QDoZ/3bUfx49/9CMUl5RKb7ujg30sJKuhsOdlY8j15kuvvFs3/O3dVyO0VxqWF1mSrvnz5uCFF15SdwSFOl8fWPPOOxgimsxGyUcnDH92Pp0aivzDdR//OOYceSSKiwqRl5OH445bhPXr1uOHP/yBCNkrVPtZKMME7pTlhrsW0aKGlFfgnA98AOee8wGcftpp+noG5yZi5Qk37E0TLXPh0Ufhissv0fSecfoZGFY5FKeecooOUdpEkFDTuvKKyzBv7jyMGzNWd+FWjxplvdog9dOqr+0xlJcNkqHOqbp7+HzR8DaLpnS2aHncTX3DDdfrTubjFh2rmza5ETGZDplgHP9TW++7Iu605GcreGCvwb/++S/86v5fomJQMX4t15///BftY3XBo48+iltuuRmDB5fipz/9Me64/c5O4SZL4QiZZ+sSlp73W/j1rx+QJwsLRQt49bXXNLc4unjvvfcwvGqYejBh8GW1ppYmnHfuuVizZq0JrEtKNp/stGzpElxzzUdROaQM37jzDtz8pS93sGeYxTK+p9rf0NDEGASJ4zG8JOKJaW0SLczlCuGOr96G1TLWJ/hVSMZ5xIRxUqb75V46u4gf9vb1ovLzHSvmrzG3kykHe3lE7SJ+2Alv37ZdXy8oKizQIeaC+QvEEfC3R/6G3/zmNygSQTNmzGjduTxBtFnOcZxxxmmiBVdL430XW7duEbkUwtFHLcBll14aM70Vgwdj5IgqHY7wnSTGRcERDPhkaDdI5zUoQHbt2oW33nxDXyWhAOLcDIUsh7+Lj1+Mgsi3qJh+hsMP3nFIvHbtOzJMPgLbt29VAc53j2prD+hnXE45+UQtPydP8ShReSkRtmfx0WuwR6fX3th6T2gEYl4+uEKlN/Uujht539LSiq/e/mXc890foKyoGN/77r24+55v4nOf+yx+/OMfyLiS31cJy/DCJZmdjx/96If46lfvxCc+8XHc/+tfSY+3naHHRFdDHpG0KCkqUh74QmKLCIQf//iH+OxnbtTx7I9+8h184fqb8aEPX46/PvgIfBE19ZIPXoC3V6ySCrreCkjAs1AXzp8jAseNV0XT6gpmyMNeiCp4VygVDcMrPRDzi+Nzr9eN//u/3+GWW+/ABRecjzdefw2vvPyGNGgrnICvFX/4wx/wkQ9fg4ohgzB58qQIP/ZBUWcwj5hXiYZh5Jc9Kxsc572u/NBVCEhvz4+mnXP2WZgt2kPN/hp8//s/1LywY/ToUZg0fiyeevb5iEnXMEMeez6RN5LWocgz+W7nmfaSWrE37tSO9xF3xr25t4MTuZxb0Teqjd9o8xAwHMYtxPrDyVLWFT7Tlbqmve1KkH8Tnpra3NA/5+io6fLZyVMi9Ket96lxnghMk1BMqcmLXLNczHzncKi9svzmN/dLJf0wtmzbik998tOihfxUx54MIyDj57vvvhOXXnqFTpp9+cu34b5f/iJ2fMmQ+ONH1a3CCOPKK6+Q4dTzWHjMPBx19Fz9QNOCBfO112HPRz8yCteJOKql9rBYKahyP/PsfzqYd0XJ8O3SVRzmlzUG//znP48rrrgSm7Zsxne++13ceustYme5Za/81wf/gl8/8Csce9xRMjQ7Ut/85YuY9O8M206Gl0Q8Uat84t9P6tzJJR+8FF+/82vqh1/Se+Rvf8dXbr8DB2QYO3bs2M7+DZzmQsloKCRqq+SBV3NvzC1yRe3tV5eH3wDq6N7c24lfo+SV3zCywnJb/g0xHLnSP+dzyC/NaEdzvYodyR5u1Dzizu6GK2xcFdSVNrGz+0tEydQhhe1ZfPQa0itQyKmmL8K1jXjhK1v79tdGaL8UhtVr0jwkrLhDQpKhIflJUxdV0ZLcLik1f4v0BGLHZ3g8CIpG0Bb2wZNlLQnb40qWfD4/9tbsF6pBc2sb/vKXh/Cvfz2JpUuX6xxJfX0jli5ZgedeeBVXXHYJ3GE3Am1BzJ9/FLZt2YaQPxDdJ5CX7ZUeRq4yrnfGE49i5ZOTDtbWRfLrgGpB1G5I7OesT3CycvIcmYB+qfDqj34MS956W2gpVqxYiU0bt4rwEV4TxGV4SciTJFJlnJSdX4YAlMWs1Iw/JA8UfQ0NdRKKlJO405cljV8D82wjThTarx3sEvE0gChW+npCSeUNYXsWH72G9AoUchqpYOY+GWI6qT6ykn7yE5/EIw89iJOOOwZ/+P1vcfPNX5YGE8TTzzyOsGgB98hQ6ME//A4nLz4GP//BD3Gr9JBsYLHCTUTsXew9IrWMgDQMDo149Xpz5OpT8/HSy59x5sm4/gufwcMPP6JDls985tN6bgpBTeDVV1/R3sceR1eUaj6x9/rZz3+OP8qQ5pTjj8U3Je2/+93vlL+H/vQnUeGsiWGLguCZM2zxRsPrigwvXfFEuw9efDHOP/8cnHDCIvz14Qdx1113gTMjv3/g1zj1+MW49ILzcPJJJ2HDho3q/u9/e0TnEDQM6YU5GW0P05ApB3t5RO3k5zQbqBQrfT2hpPKGsD2Lj16DPTq99uWysQGHOpovVAEFnFPh8vCWzVt0UxpXLYplmHHoUK0KHZ5ZwrM5tm7dKsqKtfkpHjgeTXXZmCBPZItDIoIChueI8GwX9rqqsgovXDnilQXLvSn2CeZ4MHMo3Vk2JpqbmvU8kV27dmtjZfxcEeHqA1V0Oxg+7RMh2WVjpn1YZaXu7eAGs+jSbnOLClXu0zhYW6tzKgS/58sJWQM9fY5apgPMBXJprkQ07G7mU3+EPX3xkIwbA+YL86nLMnYESC2Jj/1/DoVBKrPCbuQ+GaJ7zZDIMzdA7dyxUxsJ7ZhpdTxZTX6058QZT0hTYUJE/KVKmrEOs6id/KyjH61n9qz79u7TZUTDqy49RgqS7nU4FnGfDJn0pEqsQEy/CotIGNyboSfVOdwmG4dxl8g9t5ZzaXaXxJ+fF9kqIMSJQR52xMltHoxlzLkxzNyTeDiW/Tlq7rh2sEvA00CiePXNTsm4MZRU3hC2Z/HRa0ivQCGnmr4I12mgdKuIdmLYvRl+IupPqrzhJVme4uVbd/PU+Inltz/lk5N4YSPi1W4ej5LJm1TyL6m8IWzP4qPX0C80lK4oFWmdKjHs3gw/EfWnntfwkixP8fKtu3lq/MTya+eJGtLECROjz86XA53E4TLdlA8u1zN5Od9Ec/qJ5+/IWUfqZjre079x5/TDzZv5BfnRoZkx74qSyZtU8i9eGjoQYXsWH70GM+A2cRy2lwPjEaW1jiq6SZzr6O7Lgb1FnNfp6cuB6aZUXg4kxSuX7uapCc8ervPlQLHFcYsWYf176/T9Kb7wN3bMGNTX1WNIRQWmT5umG8ysIRdfsivXTWYcQnPeJyDDVR6YTTd8T4cv6O0/eEDjIPFSKMJh29atuvFt1swZqBX7YxYu1PNva/btw9AhQ3HKySfLsDtX3G3G6aedqu/5nHnGGSgQvxwmz5l9JBoaG9DS2hIN21C8fLNTMm4MUUPJvByYAgxj3YVkSNJb7/sKPdl631tIduu9Qbx8626eGj92v5233gO7du7E4PIKyUQ3fP421NQcQMWQSt0Bu7/2IDZt2ow2EYp8oY7bEt5esUI1iC1btug7Njynl6tgXo8XIVcItQfqJAYrwYybG9WmTp2mE877avbD1+bD7j17sGfvXv3SABcbuCN48+ZN6mPrtu16Ri4nnjdLHHTDlwb5smAsJJM3qeQfNZTMy4EpgBynksFOdHeVpzfR01We3kCyqzwG8cqlu3lqwrOHa4YSznwKhWUYE+aSuDSNLO5aoiF3izYj6MqHO+QTCsInIQWlM8kOB8S/CyF3CK4QDw73wSP+A64i8d+I7FCOCJ/2zoZxSUOShpel2k6r33pz2CNmFEasU4VFhahvtN74Jbjaxo4iEeLlmx3JuDEgr8wnw0dMOALkkIqPA/LlQNrFI8kNucpd5NrBLgL7fXfAjI6loTjj6UtkNJTOMH7sfp0aCoVIsGwKsn2N8I09Hr7anQgXDMXgI85Fq7SSxvzxyMkthKt4POAtR8n4c+AqGoOm/LHIHTwabTXbUTD+TORVHQNf+SyEcocimJWNsKcYbl+txs3h0QnHnyDDlzzwGI0rr7xMtylwHxJr6Pnnn6+vf/CIipNPOgWFBQWadwvmzdP6xZVACuZ4SCZvUsk/8vQ/93Lg+HFjrINwuK1ZJDlf2uIhOHPnzJGxb7k644e8uEeBpJXa5r83SL9UKFeOVzuY6y5d62c37w2yx8H76AawGGa9zY8J3x4P49b+P/JsKN63dOme/p15mgwZP7H8Gp78MszJkaGKP9CA/OYGrb3u3AL4mvNQXL4I+W2bRY0YIlpKE3y+nWhtrlFevfXr4WppQm5+kQhz6Y7rtqDtwGbkedzwNu4WN5HDkAS+tjZMn2bNz/BN7XfeWSf1d7zOt3DY5PG4MG/ufBEkxfpKxtw5s5Gfl4tH//EP3PLlL0nvK8Ikwncs6k7edEX28opLhO1ZfPQa7NHptTdeDuRk2T4Zg1588cX6Do5IOH3lnlvYd23fgYkTJ2Djpg36aj7HvjxA5z//fa6dqx4g1pBHpK5+Fe/NN9/Uj1mNqq7G3n37lM8333gDJ554osT/X5SVllr7KoTfNp9Px8bpgBnymJfeKNX50bCjFx6NpUuWaB5MmDQJr7/+Oi668EI89thj+jXCPTKWZ3o48Zct/jmWZ16nA8wjhm2GF8x6vv5fVFyMd9askZ4/FwsWLMDTTz2lX1Ekb8xH7suhJsGvB44eMwarxW2yw6ZEMEOe6MuBEl+YLVKGMHwZ0hXyIMy9N6E2UeMlF10yyAnTzCN2QT3HJIyAdhwIeeXeI/bSCbuoqUoaZfjD1xlcMhQKh9u1ioB0aOzw+H0hgt55x/xRPmiugVpgeTAv8oTfdKU9FfTw5cAWoSZJV5Okr0HKnlQvZo3yfJiHPLwRYoW0r/Lw7VMePLR06RL9wt3atXy9342du3ahRRoFvyzX1NSgX6jj1/w4cZYuSR5rlYeZX1woDWD0aP1CX3aOV8/z2LVju7rh8uLi445DfX2dLjPyNXl+JS9dPLFi2ld5aMwXDvmxLO6AZeNmftXV1+tKBVcd+OIfVxd4zkdQVOsc6RUP1h60KpIt7O6Sc5WHxjyjg8Lk8ssvlzINScXN1Vfvy4WnvaLa82uQvOenZflFRwqUt5a8pbt1tX6nQMxb+jFXmjlXebJEkARcuQhk5apwCLqzVGiEXF6598AdyhFXXOHhu04cLnnFu5iFac5Gz1C8QnwWkuGOzyPCGTKk0vkYdaavONCx7oa2Ee2s+/aX+yxzy075lGtXZE9fOogaSk9WeaTMmblmiMMhT3TYI5T+SVkJMJsaijSsvRE3nZBIQzmcYCNxaigEebTYtSbg+DOgnf2q9loL0gOnhmKHeTZxkgcTt50vrcw2nnsKp4ZCmLjj8RS1p/vIvbyqP+gAANxPSURBVHGXDnTSUBKgO7FatSB9+Xg40AMN5dtyYUPlGaF2DaVBwotqKPIs/X6TCptEGooJOz1gmoSSGtcdZmrvYaS3YWHEsGNPZV47t9uni2LlkzNOe9x2vpw895QML3aeTNzxeIraG574LNQdTc74ieU32fpEv6mSZGSncHqTrDjTR0nlDWF7Fh8KqUMUCCoUeC/gldZ6NUS3ySIpgcKxelJQVqzb6H0PiZ1fLPOUiIhlfhiJvXss88NGhP2agNJSLskSLxLh+4HkXyeznlDM/HISYXs2Mkb8hyhIIqS2MhLpJExEUwmLVq33iWCXX3rlkKexsTGrrq7OJSqnRwLNloi9ohInPeRRKcjE9gPwBT6q8nofZfDwQvQMvfYXfvQlR9Es+OsvPBH2fJJ6yButW70KZxx9EadBKnHZ3fI+BRgtou5QzZ1yaZG2ypnkZmknjaKlcP9JowgQ7kmhWbOYtTY3N+sci8iFYEpDniFDhnRgz+PxhCmhIo9dgwmMJJIVoD8QVXHDVyz7tBF/scxjUJ/wkwLZh1BOu8NJ9nxSRC69CmccfRGnQSpx2d3yvisibM9RCRAOB4SC0r6VIvcc+oT8fj+1lZDP5ws7Ryh5eXlhp5wwcAqU8EMPPRS51Y1F6ilZdUc5/V8lIpZ5hjJ0uImwPUdlTFaWXwSIn4JFHilcAiJLgmIekjavwyASFQqS5cuCXU7YYZdfBi4Z9mRxpae4uNgtEXDIkx0IBHIkklyJIE+e84UKSPKs93KlXa7cc12ORH8uIa4URWSjFY8wx0sGGWTQS5B2G7mzxIg0QWmKOmdCTSQgV7Nc3CbtkSs9OuwRfxzqUCXR1R1RKlpFS2mTts9VHj+HPCUlJaGlS5eaCV0DFTixBEp06ZgCpba21iOBZcu4ySsB58oQiEIjXxiiINGr+MmTa64wkyv3Kkzk2SPPFCaUHlnCNFNkjyeDDDLoZUj7U4EibVGanzUJK88BaY/cX8J9Jq1i3kqhIvcqVEi8F/tWGfbQzkeBQj/19fXBGPMnRGKBYt+LIpF6BTmiqaiWYicKErlS0HDHEAUKP6NHcok5tRThhWuKEmtGqGSQQZ9B2l8ngSJtUYc3ck+hQg2llcJD3HGCtkWUBr1SmEibb21oaPDLvb+srCzQLYFy8cUXZ23atMm1f/9+d3l5OTUMbjvMlki9ogLl+P3+3MjwJ1ciyhOGcoSBHLHPETMKEmoo3LYfFSZy7RBH5JpBBhn0DqKNXdqiChVC7s3kK98jUYEiV2ofbWJOQdIqbVs1ExEsbRzuiBnnWXS4E2eFh+haoOzbty9r586dKlDMsKeoqEjnUihYJLIciTSXwoSCRPzpXueIQOFyc1SgCGWESQYZ9D06CBUhnWgV6DwKhYpAl4OFqKm0yTPnS9qknbdRoHCoI+07IOYBM38yduzY0EMPPaRCygpd0UGgGEQFjHPYI5qJah7CiBn+cDu+CheaC+lQRxjzCGNuseP7P5w7yQiUDDI4POggUOSiQx8KErlSQ9Ghj1w5l6Jb68WO8yUqSJqbm1UzEQSKi4uDtuEOwzITsnahEl+gmGEPN7hRS5HAVKhQSxFmjGBRErWIQxwKFRUmYkbRJzy5zVAnS6SdBhx5ziCDDHoZESFiHQciTY/PJGm/nEdRoSLtMSjt2iwdcxk5+lIgzcSNaif79+8PiRwIxtBOkhMoJLN8TC2FQiUnJ8ctEeqQRqSX7qIVUq1EmKYAoT2Xmrk7RjUTEoUJrxpyBhlk0OcQoRAVKNJGKVBC0malmYaC0j4pXFRbycvLU0FCollra2vQMXdihElSAoWIChWjpbS0tGSZoU9ubq5bnt0y4nELI26JUC4et6hFKlDkPipIhCG9kiJhZpBBBocBRpjwXpqpzqVQoPBehA21FJ1XoRCRe7m0CxN5DieaOzHoSqAQusmN7/YYoUJNRZ5VsIg0c4kgcUUECoc5LolcBQqFCYmBZARKBhkcXhhhIpqJ7nqNaCqcIOH5JjzrJERB4vP5gjISCTmFSWFhYTiGdkKkJFB4r0Mfu1AZNmxYFudUJBIKkSxhwiUChsMcHsyk22CNMDFXQtQmql6x4swggwx6AaKBRN/FoQCxXylAeC/2Yd5TkEg7D4miEOKcCYc5fG8nWWFCxGvcdnPedxAqIkD0RDdqK7yK6pRlhAvv6ckIEqcAKS4ujtxlkEEGvQ3p+CN37e/kGYEiIws9lkA0kTCFCbURChJeRWsJpypMiA6N3QG7He85pwLuT3EKFmosdMR7+9UIlwwyyKB/gEIkcqsv/5J4v3v3br23CxK+URx5CTApYUIkavB2e3PfSbBEzHlgsQqYyGMGGWTQj2GECYUIr3EEif1KxBUmRDKN3+mmk2CJPPOE+Oi9XdBkkEEG/QsUHrxSgKiBIIEgIboUJkSyjT6eO7u5ChgDu6DJIIMM+hfMAUkOAULEExoJhQmRaqNP5D4jRDLIYGAhkaBISpAY9EQAZIRHBhm8f5GSIDFIt1DICJkMMhhY6JbgyCCDDDLIIIMMMsgggwwyyCCDDDLIoNsYqHOombnfDDLIIIMMMkgOA3Lt5XB19BkFI4MMMsgggwwGBg6LgtPbikK6w88oNhlkkEEGGWTQPaRb0ehVxaW3OvxUw03kvsNbzBlkkEEGGWSQQeqIcbpAV0hVAUmrwpIuBSXZcJzuUjo+xX52UwYZZJBBBhlkkDzsZ6nFgjkiyY4E563FQ1oUlZ52+In8G/suFRGjeMQ7MJKn1EZuFZkTazPIIIMMMsggeZjTowlzgrQT5lBYwnkwbOQ2VYUlkX2X6G5HH89f1FwUkui9UUhiKSJG+TBKh/kWhxNOpSSjpGSQQQYZZJBBcrArKPZ7A35DJ3Kr9nYlxnmafTcUlnjmXSLVTj6ee2PeaabEqZSYb/aMHj0abW1t0e/3mCs/Cub8ymBJSYk+G/PMh8MyyCCDDDLIIDnYP+xHmK+H8muh5tm4McqLuZqP//He/u0uXu0KS28oKsl29PHcGXNVTOLNlFApqaqqyqJCwmcqI2Kn31Kn0kEFxHwOmZ9CNopIQUGBXp2fR7Z/d90gllkGGWSQQQYZ/C/BfLLcCWNOZcTcNzU1dTAzSor51LlRXKigkHJycsJbtmyJzrD0tqKSbKcey52amaUcM1uybNkyH58zyCCDDDJ4fyMcDiM/Px/ScaGhoYGDyIhN91BdXY2tW7dGnlKHdJTIzc1FTU0NsrIO75iVedOXPJj4RHHQZxnwR8vDzgfdHXXUUVzBqBJzVUJaWlpUQSHxmYoL70URCVFBoZn073pvlBUzs9Kbioo7ck0EZy5zxiRr6tSpHZQTzpjs37//dnXRz9HXlSeDDDLI4P0I6aS4hMCZcpWrsWBkrbGPJ3tLS0u57BB56oxE/tk5k5fm5uYOcQ4fPhyTJk3irDyKi4tRX1+v5kVFRRg6dKjGWVJSoooWO3b6DYVC+sxOfvbs2Th06BBn/zkToX55pTvpjFWxonJUVlbGlQP1M2bMGM5QaP6YMHsD5OXYY4/Fl778JQwZOkT64z1wuzw4+aQTcd0nrkN5RQW2bNlMhSTKw4gRI/j8c/HrkXR6JN/ckm9u4ZsrG25ROFyieHJVQ5Lpckl+Zkk6skT5yxK3WZJfWbRnnh08eFC3apAPUmQbB+bPnw/qCO+88w6j7FbiE3ly2pvn6JKOfTmHjG3cuLFVXdhApocNG6YFxkLdtGkT9uzZoxWAoJm5J0RbU6IZC9aAmcuwzD3hfCYkUzBo0CDV6NeuXYvW1naWWIFZ2VhBIxmnhUU3olzpM+HkyR63HRw9sELa7WLxxkYzduxY1NbWqnZPu+nTp0vF2cIlsU7pMM/kl42L/hgP8yMWX7yyobFhMHyDWOnIIIMMMkgHKHsSzaDQDRWDadOmqTxj5yX9RMxZjngzKHQ3ceJElYWUgW+//bbG5/TvnEExcZ955plYuXKlKguUuwxr79692j+cfPLJ2L59u8pJul29ejUmTJigcf3nP//BlClT9P7111/HyJEjVYliGpjWX/7ylzjttNMwc+ZM/Otf/1K7U045ReU1FQL2Y6+88gqOOOII/N///V/a5S+VrWeffVbj//ZXb8egUCPOOmURcvO8WLlqHZ5+fSUuvPZzEv8UXHjxhXjuv//VPOEMivQn04Qfzo6EpO/Wq/QXnCUJSfpCfDZXsQ9JGQfFnss8IfFLc51VEWUmxJkU54wKZ1OSmElxPndAotyy2+u9c0mH91ROKioqXNxj8sYbbzTTzICZsWjRIog9/vGPf+gzcdFFF1HzUu3ztddew6mnnqqdNSsQO+x58+ZhzZo1WhFYqampLVmyBEcffbQqOJs3b1Y3rKSskPRLhYNuqTzRfs6cOVppWCEZV2VlJdatW4crrrgCjzzyiFbSd999lxt+NB7GwUo6Y8YM/O53v8MJJ5zADULa8bMik0dWWFY8KkE7d+7Uyr1hwwZtcFVVVaq5U4tetmyZpvHRRx/Fe++9p2EzXilU/OEPf9AKe/755+P+++/Xys8GTjB/qHWzgfC6Y8cOHZnQ/ahRo/DYY4+pgkXz8vJyLF++HKeffrrmDZUshsU84D0b29KlS7FgwQJVvliJf/WrXymPGWSQQQY9BeVVIgWFgyTOXlBevfjiiyp3Bw8ejLfeeqvTzEI8BYVxUDZzkPaBD3xA5S1lN83s/uMt8ZBPymXySH4M6J/y0vQ79EP/lLmTJ0/WWZNt27apG6aN9pSrlM1m8Ey/vOeV4VHGMz8ogxkv/TFOXk3/lw4wrB/99Mf41HWfRMAfwF9/ex8K6nZgkPRn+UWl2LV/H7IGV2LuaedhxMjReOGFF7QPYr9FBUV4ni/8qlIi93oVHvVKpUTugzQXhSUoaQtScaGZ3IekDwxJ+kKSLyEqKVRapIx4DUv4nZQU8iuKikm8PRO6zJD2kkoB9iWduro6lxSWKifSybfXCBvYIbKDZqUkqJGywKlZUmGgAkMl4ZlnntHMY2csio4WKCscKzK1XyoOVGY4LcfpoyOPPBL/FY2QnfXChQs1bIKVhBWClYb+qcgIzxoGNVs2AHbYVErYgVMLPffcc9UNtVH64VtGVEJ27dqlDYGVkkoQw6bCw7CpDFDxeemllzQN5PO5557D+PHjtYJSuaFyQnAGhfdUoj796U9rXlCpYBqpYDDtK1aswDHHHKMVj3aMmxo5G+2BAwdU6eHMEBsp42ReMd3kifnFfGHecXbqqaeeUuXvjDPOUGWNgoENz95oM8gggwx6GxzgcVBFWUlFhfJq1apV0Q4/GbAPodyjPONgkXKUcjIZ/3THGXwOWD/ykY/gpJNOUvlOM8pPKiKU2VwmOeuss3RwyNl+ymwqRnTHwd3ixYvVjJ077z/4wQ+qf/YXvHKAOmvWLO1vGCf7CcpzhnfTTTdpf8HZFc6km7g56OQglzMzTAuVG7qhHGee0Q37HobDwTmvDIfhEwf37tf73NwcnPPBS+D35oEqYm3tXuQVFmDcEVNVOSEO1R6MKlWE+CuQS75c8yXufN5Lv5knPORK2eRIWnOkn1ZImXnFXTZJysIj7nRZSMrELf2KUn19vVv0Ahf1AK6mUD+gnkB9QSNMPCHSCfE8OM11z0nkvoOCYmZOhGmXJD5LKk9DxFkUzEB22CxIFgDX+3hlh8kMk7BUQWElZAWgHRUMEiux0Z6p/VLRYXgMgxorO2XOaHDJxlRWxkV/9COZqOGYWRKGQXtqyLSjX8ZJ3qg00B1nNn784x+rG8bNKxsHw2EYrDD0Q34ZD/0yDbzSjVnfpBuGT5A3xsf00pxh8kp3JCoitCN/xpx+DNGO4VMrZxzMO4ZNTZ73JjwS3ZKYTrplYyOuvPJK3HbbbZovDD+DDDLIoCegHKGMpKyJNYNCWc4BIJUTI5+7QqJNspShjMMZjwFlJOWhfYmHMvFjH/uYziBQSXn66afx0Y9+VAfHHBRS4aD8pnJBM4ZNP5Tj7GO4/MNZaA5mKae5VEV5S/lPXqlscMBLfwyH8pazLkwLB5GU2VSKOIhkuJS/nJnhTBL5eeCBB3D88cfrYPu4445T/phnHPRywHvBBRfo4Jd+GDcH2lyGYp/kkfz93ve/j0/JoDfkb8GK5/+FJf99RnhrRGVlFY4560JUz1qI5yXt1117bXTAzDRLX3aW8BKSfApJPnH5JsirlFlAjPVergHhmfcByQs1J6R/CUo+B6QPCsk1KLzoLIqkX5d8pBxCCWZSnB1QzA6pkyISuToRVVDsyglnTqRwdOZEnl3ChEsyMv4Op34ONiaCFe39hPdrujLIIIPDCyoAXSkoqSKRgpIITgXFgPccrEkHGx38EebeXEl0E8u9udKcxGeml1fzTHvChOGEPRyC7iifGY6Jj8+8EnRnwjL+eLWDz1TcKkqKcdHJi3DUrGmaBzv37MOj/30RLy5bgzY/l9La3UcUlA9K2FRM5BJSxUTsSKqQ2J457eLnVeIJCK9qb5QUXrnsY5QUUciCUidCXexJiaWgGHQwd+Zg5xyNmFFBsSsnokGqYlJeXq5TOsKoW7Qpl2ikteorgwwyyCCD9z3y8/LgzfFGFJT2DfndwZjRo3UpPV7vlQhFhQXSOeehxvbCQwadwRkh6bevEkVDZ07EKKqM2BUTUYiomPjFXhUUEmdSzL0oNlRadEaFCoooIkHOoogyEty/f79uno2joBCxijk9CsqoUaOyDh06pMqJmLk5eyLmbmHogPrqAaglZrk8CLmSfQt64CIcovYtWnHkOYMMMshgoEA6Ke1SKLOjiNWLJAGGJZJfgmufYUgZdkHazSDs0PQJyFePw0szbylDi0p+oRDGT5iAbRvf+6SkjwoKZ0hU4eBVSJURufJMMyonahYx1ytnUuiGCgopJydHlRSfzxe0z6LIfbimpoaKS68qKFmLFy9WO6Og2PeeCLkLCgpcwrRbKla3VVetmlkewJ2tXGZp5TgcJZkaBgaX/ROZvPvfQ38o80y9+99ET8qdfomBWm/IN0kUC90kvHHD2i/IvS7XiLFdCdF76cuNguKT+6hyIgqNj26MckIzzqLwnjMonEnhDEpkJqXTXpQXXniBWWnIiQ5mKb3FY5QTLu/wmbMnZWVlelS9MKekDtOGgVEVBgaX/ROZvPvfQ38o80y9+99ET8qdfgdqvYnFuygZOUI8dpaUzWvkmfeGPKKckNyimLgFcrGuHo/HlZOTwwPcXMFgkFs+OGmhL8tQNyBxEkPCiIeEWeq07PQca3MsFRR+W6e2tlaXdsiUMOlubW11i6a0T33awI1P1Ni4EUgSGjGF7kyW8KJmMWdQbO7VzLrtcJ8MzBSdKFFRksLQuEmuLBdcbutkQAbOqbBkkSovdvTEb09h4u5LHpxx9XX6GR9xuPI8g9TL3LhPZ9l1xYPTLlV+ewP9gYeBCnve9SQf6ZdIxr+Jx3ntBFpIPxTw+zFy5Ajpg9zYsm2bbpgVJcBykyJixikPvFfzyAzKhvXv8NR3+9KOmTExsyZRkr47OpvCK2dRIs864yL9KTfP6lIPl3kKCgp0BsVslpXnDss84i+pc1GcOeDMw+hx9k1NTaqYUDuitiSM6P4TUUioJVGrouZEreqL6lNgFAAe0MN34ZnpfM2KJP51t7b4sZQCgf4XRUFKKfLckR37U0ebzmDcfp8fLXx/vrkFLa2tem1ta4Wvzad2wr9eJV1oE/OWFpLlplXuqVBRcSF/Tl7sSMRLV+iJ357CxN2XPDjj6uv0M76+jjODjkg1/437dJZdV+E47dIVZ0/QH3gYqLDnXU/ykX6T9W/cOa9OhKSfGlxWhkmTJiIvj29D5WKEKCrcm8gjJIKBIEaOGqmn1Q6pqFCz+rp6HWDzFeW21jY0NTZJ+FnIFb98PZlurB6rPVbe2Xng69IHD9a8LP2kdG9qo4qB3NNAv8PDq8RDcz28jcRnMY9exT9JPyIo/XpY+ky+3qPf7uGVm2RFUWHQ2ieT2O/yqA5zkntXcOZbp+d4b+/w9WLuP+EMimQIZ074Fg8PbNkb8RsFX3kiSaL0mYoKGeWub2NG9HQGhWHxnXPhQ5WLIYPLMXpUtcSdo69heb3ZopV69N12EuMnHzz8jO65ecgfCorC0qZKTHNrC157401LQRFiGqhYORGLFwOGT8ycPgML5s9XHl9//TW89976qHJGN1mSJ8FwCO7Iq2ZZmnQrVLfbpYf0sEB5noCJTTRSUaiaIa7FvxWOAcPgyYknLl6s7p577nk92jksXoPiLj83D4uPW6RK27PP/gdFRcWYMWMatmzhIXZ8RU8URQmOM0mmvJTPSF4YhCS/GH5AGhIrHt0SolIrT4SL7rWec/f4fD3AbtOmzeqWhxYdc8xCbNiwUQ/ho5nWiPYo0gqTQ70UfAZJgGWQSv4b9+ksu654cNqlym9voD/wMFBhz7ue5CP9Esn4N/E4r06w/x9UWoKq4cP1UDb2Sy+9+qoe0smzVULSR0wYP15PQefZKjwELjvbq2d27dq1U2g3pk+fprMtPOxz6tQpKC8fIkpKI3aKnH3u+ee13yIDjF95ETnOGZT17635hsjy6N4TktjZ9520ST+i18iznXSPCq/ix7ztI12atVFW+lu+dhwUhSmY4HVjwlwJ+32nPOv0nIqCIhoUPzbUSUFJFp0VFMs8EahcqLYpV8koqxOWgj1SlIITFh+PgsIc5Bfk6SFvfGefHSoLlK+z8bU4Fio7VyoMfqFGKVxqqbt278KPfnKfVbiRTpmFS001Lz9Pn5NFmyhOHzj7LOzcuUtPLaSyxBMGH374EXzwgxdjyZtv4eijjsJLL7+CymGV2LptKyZPnqIVjSfBUjNmZWQaFi06Bn/60//DVVd9RE++rawYivIh5ag9cBCr31mL+sZ6bBZFgyckTpO0UenhuQBM88TxEyStPuzeswcTJ07Cxk0bRUEbrN+2GDGiSjVbHkBERYGnHPKUXio6bDirVq3WuJ9++hkNa/Hi40TZekM1+R07toli6FN3VPDKBlfg4IEDGFw+GI//63E0iTLIWaxzzjlHFRTGx4ZzySWX6CcQTjjheFFQXlcFTFTzSK5lkEEGGbx/wf7EKzLzuGOP1f6HAzvKW35ShbP54kBlanFRkfZxnI1gX8D+iP0dZ/9pT6LcZt/WKgN06ZdRHxmAE5SoRqrSLLLE800qFWJEZUM3wcqVCoovopiQ2niV5w5KivQPqsjIfXSZhyT9qCoowgc3y/ZYQUlqiUcypsPyjjCbVVRUpIqKMKobZKTD4q1LmIwu8aQKjbzDEo9qBpaFEBUP7bsi90wLlQkWDEf6VgACCSMsw/DKyiGiBIxFoXS6uVJw+fkFohjkaMfIcjt40DqyhScBcmaFS0+SBJ1eC4ni0tzcgldee0tCZsSR/cSiNQWCAZ2l4QwB/dj5ikec0RgmWnB9fZ3ywOPoebJgQ0O9zvq8+dZbokgV4vU3XheFwfoiJiuZKIeRUwpDOOKISaqsFBYWYO3ad1RJYGfv8rjxztp3sUbMWGFDUnEbJdyy0lI01Ddox79w4dF6XP6OnTuwYuVKVXaam5tUK+eJiWvWvKPTfgyTnwNgng4ZUqF8bt68BStXrlLeAwG/zsRUVQ3XGSiGyTTwKmUvaWmTRtQkeRhU3te/tw41+2p0bZV5QH+1tYckHq6xelBdPUobW3l5Bd5etkzySjLLVubpJq03QonKK0O9R8m0FzsZ9+ksu654cNqlym9vUH/gYaCSPe96ko/0y2sy/k08zqvTHWUf+66NWzbp3pNt27fpaa9+kbO0o6eQdGYc3AVEplLW+6X/4UCazww3KHLVJ+55T/OQhNcmg0T29NE4IzC3lPUHDux7RW7pjJPWdqIZz0bhKbN6FdkelHt9NmYR8w5+BbrMQ4UkEAhwqYh9CZd8tG+hIsXVjD5b4pHOXs/jNzMowvCeiN+UkcoMiiRetclY0ELzBzB71kycduqJKCktQp4oJcVFJSjIz0euKCrUPvnRQVYCHnHMzpNhkqgcsNPm7MHd3/yeKjMWeGMtc7AzpiKTk5ujWiv3qqiSFAfMWMZBvwTjIajgEDSP2kswnEVhHDxmmQWq8QnRDQudhc000Iz3nAHiVRUsMTNXgrwFpTIzbHu8dndc0uGsU4UoJZw54UwNv/3DfGDY9Gv3w3B4zzg1XMlvT7bH4knyJdsrZUi3YmfPFZo5wbAM70T8XMwggwwyyCBVsNexeh5LBkeWeL4tMte+xMOZErO8oyTPOoMicp0bTfU+Yh99DZn34k43yubn54s4DwQ5k8IZFOkbQyke2NZB/EemBforhFeTs+y3I1d2tg2NDWIb+2cpc3SaxY1A+O0f/4E//mkVfn3/C3j86ad02YSdLTtEEu+pBJB4Lxmu/qkMsDC5kYmhWsRn6qjyJLnHDbVNzU0IhqVjplmERyeR9yw3Z4fkhjMv0oGTwpHnDvbuLOzZtxd7a/bBKwoQzWhH7Zl+eKV7Xt2iFNA+O8erz8at5hXDEgqJpmfCNvGqXcQdeQiLG1e2GwdqD2LZ8rfx/IsvoF7ymO4YtvFjwma8NIuGm2PZq7ncm/j54rnGYUjMaG4nE45xEyv/0kV9EUeG0kumvPqq7Jxx9If60h94GKh0OPLOxOm89gXFitP0Xw5kSf8WJT5bxv0H0rv0Z9hyln2/EEfnjQ2NYhP/x5UrLstwCSYnpwCecDOKCvfCm1ODojyu31kzEGbUToXEKCWEseNgn+FxD4cpPSuG9h9nJ/SNICE+2/ntRMI7KUvIJbcM1c2rsY8Q00kzXoNtPt3IKvpp1F7tGFYwJClNEGcXxPDt16h5JEzl0UZ2N90lxhVNXyQvwpKOdMcTj0z8sewy1D/JlFdflZ0zjv5QX/oDDwOVDkfemTid176gWHGa/isJqNOIwsIBul45cJc+Mckg0oc+VVAksZG7ZGHLWSFmFWcszAxGvJ+BpXy4sGHDBvy/P/8e/3z879i8bVN0lsTMoJAvzpYQRlHh1cMZCcYbCdWizj+6aWkVJYLLcfTuIPI8Z85s/ORHP8IPvv9d/PznP8VPfvIjjKiqkriteO1pZZhcZjrxhONxww1fwMSJE+DyCJ8RN+SXu7qvv/7zEb4j5pFrLIpnR/NouLYfn5kH5eWDMWHCeImHy47tYRg3TmoPobM9y49kvd0T1qWkL3/5Ztz7nW9rOdAsioifdJPhIZZdhvonmfLqq7JzxtEf6kt/4GGg0uHIOxOn89oXFCtOSlabdHVCXRllxMD5fDjQ402y0tnr+SeiXUkfo73MTZbXdrBDHT58OI444ghMmjRJ36Thp6O5X8E+c6F3olDEOweF+xnYcbNTpr94P7FUNyOqhmHc2LEYP34sTj31ZJxx+mmYNXMmhHfdKMvNoAyHnT2v5If7LbhplcQ9Li+9/Jrwb/HWTh1/uv8kxN3Y3ihfFpgd3PcRxKSJfM89B/fd9yv84Q9/RGlpGWbOnI41a9Zqflx91Udw2SUfxMzp07B92w6MGDEan/nMJ1A9ehSCgRByJOxjjzkGJyxejDPPPB3Llr2NGTNm4MUXX0J+Xj5OOfkkfOqTn8BcUYTmzp6DAjHbtWMncr3Z+NAVl+HKyy/HUQvmY8f2HWhubMKihcfg9FNPxZlnnIEc7nGRtH/8Y9fg4osuwJGzZuKdNWv07ZybbroeJ550PIZVVmHpW0v1dbiPfPjDuPyyy7DomIVoajwk8exGddVIXHTBBRL/XFxwwfn6WrOWrck7yURq9KrVCzjDdeDgQRysPYQ5s4/EM888a1kIumhIPYYpwwwGDkx59VXZOePoD/WlP/AwUHE48s7E6bz2BWLFyXv7s56DcqDmFZHRHOEa4ig0SmLHY/D1aojPEbvoBlrei7lSdna2dL0yVBcSvUA3y/Zkk2yvz6DwbZeZohRUVFSockFlgB3/YuloySSVl/gwvZtF1Oe4/8Q+So/1i0JuBw8qw9FHHa2fl547d66+4ssNoEbJYfx2ojkVFV5JDK0jdf6ZmRPe269RvuXCN384E/GZz3wKDz74ZzQ1NeCXv/yVzhz87ncP4PXXX8fvf/97UVjW4NprP47tokg89dRTeOGFF3H//b/WvOP77n/5y59x++1f1cKePPkIVbQuvPACPQjvk5/8NL7ylTuwZ89uVIlyxrd9fvjDH2hYf/jDHzS8W2+9RSpnCUaOtGZvbrnlFlUOqKw98eQTePjhh7USXSLKEk/6/fe//43//ue/+N73v48ZolB94QufFyXrPlx//Q244YYbRVk6CyeddBJy8nIxfcY0/PGPf8RXbvuKpNjKB+ZNicR3yiknC5/ni9sTNX6acyZF807ArLJyKgJb/qWTWIdIsewy1D/JlFdflZ0zjv5QX/oDDwOVDkfemTid176gWHFafdfAQ68rKNSWuMTCzp+d6vLly3U2hR0xO10qCfFhy1khjr4Zhp7u2sXPckwFhJ2gjNXFiIoAifHxynB46Bo7YyIQsN7gIVEx4VU9Cvi/neL/TPj8WTxL56sdcFDyIRtbNm8RpeQ+nHfeBfquO5UFLjft2LFT/LqxatU7eOmlV/DTn/4MNTU7hbcc4dPij6/lUtmjO/LOeLKzPTrjwzdtqPxQCRw2rFJPJeSsTEN9M2oP1olyFBZtdR1WrlyjCkyduGfR+/ySXuFz5KhR+ML1X0BpYQleffVVPceE8fEry6IEC6/lEl6eznoxLp6FkpOTjWnTeECQF3v27tGy8bf5dLNrSJdwBGLGsjpUe0gUnadEMXtIz1Dha8amDJl+ErPLyuEINP/ST9FZnAwNGDLl1Vdl54yjP9SX/sDDQKXDkXcmTue1LyhWnKb/Gmhw8tzpuT+9ZsxHdp7NTc3aQccDNcdgMICp0lEft+holJYNUkWJConpENnJm1doeSofr1QAeI4IiWd88AyRPz/0d1FYlBuGHKHO4GxAcVFxZH+FwOaMbwEVicJQUMClLVEYJC6+r05FjeCpgWNGj8ao6lHCU4MqdJxlIl9UFHjGCJdxeNrrwdqDyivTw6OPd+zcqc9USGbNmqnnmpx//jkSTz3+8ueHdW/M+PFjdL8Hl614gi0PjeOZKzy99kBtrTAYRImEPWnCJLRK2nfv3qMKZV19rSprPH+FRzCvWLFCuA1jxIhRGD16FPbt3YcNGzeqMleQl4eS0lLs5ZktnB2xpZ85Yi8tk4ucYeEM0ODSMuzdwzjFUBxacyoZZJBBBhmkA3YZTNkeec34O9KP8jVj86oxv1KsrxGTxE5fM5aBN18vdh7Y1ievGdv7DaLT8+FVUOS/TRGxzKDKA5dM4kJG5/42P0468Tice/bZuvfDnFdCJYWdu1FSWFjsYNnJswPnaX0Mn8oKlYQ77/meTRkiB527T4bBQ9U4G9PuNjlomqzbboEKBI/0P+64Y6MzEes3bsDq1WtU0eKsTjyYuHvKQypwxtWXcROMj+jLODPoiFTL3LhPZ9l1xYPTLlV+ewP9gYeBCnve9SQf6ZdIxr+Jx3ntC8SMUx54r+YDSEHp9SWenkGyk+xGiMqJZIbuXTHLKNaCSuefOpY/duDeHK+O1KmcmCuVCSoovJKMwsLwSfTnE6VFlSQhU7jtMVjxc3MsZzeyPaKcRMxSIZ1p6AFxqYTHw//tb3/HX//6kNLyt1fowWm0i+XHkIm7pzykQs64+jJuEuPr6zgz1JFSzX/jPp1l11U4Trt0xdkT6g88DFSy511P8pF+k/Vv3DmvfUGx4jT910BDP1dQbDnLvp8kP5fbheISazmFz86fNctBdxDlxK0zJkYJMWSUEYJXapUk86x2fHYxRG7MJXV+vbmgkMfo51pLOwwuRWKaYpmnQjwMjYeukfTgNId9PDJxp4OHZMkZV1/GTWJ8fR1nhjpSqvlv3Kez7LoKx2mXrjh7Qv2Bh4FK9rzrST7Sb7L+jTvntS8oVpzs2azebWBhwM2gmHvODpQUlyDHm6OzGGZWgz/LifyXEuLMhpklsc+WOJUUu4JC0JwbUhmnPWz+DA+FBYUav3nuDvWlZu2kWJp2b5Mzrr5OP+Pr6zgz1JFSzX/jPp1l11U4Trt0xdkT6g88DFSy511P8pF+O/nn/kSS3UzIuHNeu00aj9PM+Sz/5C9WnBE9ZcCh189BoRLAJZkhQ4Zg0KBBupmTmz+pKLS0tERcWdDIuSwRPQeFOSumkdylRqj6RPQ+y1q+ycvVV4P5CjJLIyvLDb6tPXx4JUaOHKkF1NTcoh//a2psQl19A+rq6pW4abX24CF9s4T3NGtoaEQd78Xd0uUrrfDIDZUY+fGNlqLiIt3fQR7sfKVKPfHbUzJx9yUPzrj6Ov2Mj9fDlecZSr3Mjft0ll1XPDjtUuW3N6g/8DBQyZ53PclH+uWV/jlhXlpSglHSv/BcrdaWZnkuRSgYQPWoUWhusj6YygGtN9uDMaOrte8pl76vqZEnoYflfpAECJQMKtU9kNxWQLATLZA+Zviw4aivq9OjMvileR6a6WF/KnYMZ1BZiTAleon0fePHjUVRYSHy9btwWfoihA6+IzwbmNuBcg6KjXVFp+eebJKl0iDuMHbsWH1jhh/f27p1K0499VRVHB577DEtGEmgumehJfuxQCcYhsStm1v5uelgIAi31KKscEhfs7VOQhVImO3BaixWhWXSI7MoXCbhDA1nWfgGDh2YjOXrwgTdJYI9M1k49MM8MfemQhrerSvDts5oscBrhK+omQXlQMypKHUOy6VvMvFNHfXHZJg3jGww4bLC8Lj+tjarYhv+5CJp91if79bXk6045J/OXPFVZOaRhkzzOOBhcNz7w03IfIOJjUjDEL/6QUG56r0op0w/wXgYtlR0aeTZ6p8bf/n1TsZE9wxDZ7XsUTMP5cfGynIzfBtQoPBT5JqBEX+dwnDAL/EyP5ifWgfIP/1HoHmgQUhaIgGrk4gb3rfHp//aLSNXzXe9yyCDDPorKHeoDEwYP17Pj2K/xsH2ggULsGXLFkyZMkVlzLPPPqtN+8QTT1C5xw554sSJeOWVV1RmHzlrFvbW1GhfuHHjRn1bk+aUdYsWLcK7776reybpb/LkySL/crF06RI9QJMyhF+X55fuKeN4CCrPrWLfwg2wlJWr16yBdMrKMyVOROoo/wNlk2yvzqDwUZQY1IkWyIzmAWk8UIydzObNm/VtGTss2Z3KDIp1r0TIlQXEuDirwk/8CxOq7obJmXjgB/W4h4VHx7Pw+EyFhB0P3fGeX+XlB/JIeaKtcsaEnRJf+Y3CHncc0iiFfKIwzZs7Fyccv1gq4X6cddaZ2tlVVVVh4oTxOCCVjCfsjhs3DmVlpdqx5ubmYPjwYXqdLJWPy1k8xXXSxAmavhFVwzFr5izlbejQIRg5YqQegMZGM2HCBN2Scvrpp6taPOmISfr57vqGektJifCnHalc2bAmSMM5dPCAaP/VEt8k1dh5Cu/8+fO0vMaOGY283Dw96I6vR+cJXzyAr6iwAMMrK3WHDsuaYUqFjcZBonI4bepUPbmWsTJcvlE1urpa08F6wlNu+aVppoH2RUWFOhLhCGWuNEg93E0UromSNprlSNnMmDEdtVK3+Cq1cw8Qzc464wzMPvJIVVqrq0fpeSwzpk/H9GnTVOGoHlOtyjNn9/jBR/rRKmwLhx9RpGJ62SWXaHkcIeXE0RAVtjLhaeiQoRJ2NRYft0j5HjqkQuOcNnUKBpcNkjhrcZIIqFwRGDwTZ8H8+Qj4fThi4iT1P/mIyXrCMePdvWsXS6RD/Blqb+u88rlDu+8FcsqWTrLmMFB/4GGgUrrzjvKNMnH7tm2qoMydO1v7Ng6u2KdxhWDZsqWiSMwV2TBSFIc3daC+d+8+tePBmQS/WN/Y2KCybe/ePfrWaLb0SSecsBjbtm1VhaSycqiGmZ9foDJv9+5dGDVqJPbt26fKEPsR9geDBw/SIyY40KQ8ortmu1yMwNwOlBmUXl/iIViYLEhqiLzyrRNmuiQo4sKCRt5BQenIjv3JyaiB8cOryRAWIN+0YaeoyosUPPeOUMskseOlHd1wCYpumImcQdE3YXoILg1S2WHa8wryUXuoDnv27ME46WyN/eixYzTOQ9LhUgFobfNhunSmvHIGgEremDFjpHG40CTa+ubNW1AoWvo7omVPFY2dZ6zwSH1q6qy8zAHmL2cKqNyUlBRj585d0lo1SgXziOkjVQyu0JmNoaJsuN0ePS9l8KBynfFifhQUFGr5sew4OmDRsXM/cOCgdNZF2piozbPBOMuNMXklvzdu2oQVq1aJUlOk4XDJj2HzADgqO0wnX/VmA+PMmi6/iV1raxvVHlE0fKgS5YTKwdZt26XxDlOlcf++/ZrWaNlTGjHPs71Y9957Urb5ejBemQgHjydbZ9gosYYOrdRyKB9crvVk7+69loJig9YjqY8zj5yhSlNI2i6DX3jUAhEKZfo5hYkTxkn6svGfZ5/BaaeerOlgfo8ZPUpCCGGmlGO2KMRjRMk79dRTRDlqRXFJkSh0TZgqigzzdtvWHaKgSLlpEmyFlEGkVK2rue9NOOPoizgToT/wMFDRG3lHGTlI5Ak7+r37arBL5AhlLQdp+0VOUkbzfKtt27dL/xdQ2ckDMvl5jwoZxLCDph9uLeDsS670QcXFxdpX7tq9B3tEmaGfXbt2S3foURnJwRj7Cm5DyJa+gp9L4Zfg6d8fDKp/Dso3yeCf2xlUDkbAO3s+ZJZ4ugGdHE90Dop12+F+IEDyJXJnQQpVzbg0YJY4aGaHMeNSl30ZJEwzzgoZe9baOGCtM7MancIXogl5kMCi9lH3wXazdtcWWNH4MUW/3ycUjPIUD8q3XDVcLg3JlUs5jJpmVBRbqfGrQmiLSy5Mgx0m3conf3IfC1F3jITPtnD53/iP5mOccIhQiDOg4t9iGNJS29OrZiwja6nNHifdhIKWGYn2USVI/ISD/Agk7aiXy1WGe/xl0A5TalaOWve9CROfgfP5cKA/8DBQcTjyzsTpvHaCWNDc2NGdiIAeIWactngomzIHtXUD2uWIguL25loZGhHyGWTQ1wjBg+ywnzUSzTkVKDvyarS5SsTGqpNW1ex5/Qy5JYywBwWte3Bg+e+RFzokpj2ftetNiEBSIUdli/f9BX3CC4vcEY1RRvsDDlt5aK/arpgb8DEeS067rp7jh8M+gyo+7WM6ODzQPQVd8Z1eMB4dyTqGc848YfmQOEudUVBShYyos3PyUDK4Qtl0rj9lkIETrM290f45d2nAxu+Whs+5jqgAZkO37nqEsCuMgAgR/YmAcYlgcw2Ymk+erTsj+A4/yFNv1IjEsNJ/uPPg8KSd4N72UBezub0CTW77rCWXfA9X+ROM29oWcDjaMPM+FN0YGx/WjPGmjesyCkoq4AxKltuL3IIi5VIVwgwy6CfoDbHXXsW1xlu3GWQw4MG63Bf1me2mv3cUhz8vnByIooDdu7ZmjronhHF9vZYaLu9JvE8Ik6sZ+t8iIpb5YaZwL1B7+PKvw3OG+gURscwNEbHMM5ShviYilrkQe9sketx+h15XUKiI8N3vI488Ut/35jvifKebb6RwV28GGWSQQQbvN7A75H6I3qaB0O1m8qK76HUFhbMlfOOD74lTQeF5H1RYuEknS0aNtI8L5neG/veIiGWeoQz1NRGxzA0RscwzlKG+JiKWuZCZTBlo6FUFxSzj8GyLmpoarFmzBq+//jreeOMNrFq1Spd9oq9cxoJtiipD/0NExDLPUIb6mohY5oaIWOYZylBfExHLXMjoKgMNvaqgcIaEyzg8NZbH9vIAq7179+pBYjyoK+E+FJOrGfrfIiKWeYYy1NdExDI3RMQyz1CG+pqIWOZCRlcZaOj1JZ4ewaYBdiZhPUPvT2K1jGWeMklF6VRv7CT/YvrLUIYilKgupq2uvt+Ibcve1pwUy8//CkkGdMqPNBARy1zI6CoDDZJb/Rg2DdAQP1BnKJb94Sf5F7nXGaLIfd+R/OtkFpt0AqtXSf51MkuCiFjmXZL862RmUbS+mH1kaabez8f3O8m/TmZdmaeL5F/kvr2ttpspEfbnhPb/u8Q8tMvnWG0uau7Mxz4iRhvLvHsk/zqZxSP55zDjuTEWmTzpaJ8yEbHMhYyuMtDg5LnT82E9B8UyjoINgPtZeA2FebRVfwS5IveE/T42YqWzZ0gcp4GJO/08GHTmpS/jsp6tQ4kILjd6c7zi0jrUqaXVJ4Khi03aGfQRYpUdYZmbOmNcWKWZDjhDtWJijPY4TPwW7H76Dh156K9oP7jP4jis3zOTvsEyEgQCAf1iejjcdweq9V7exa8LJs72q0oduWuHSX8oHNSPBPJzHz1CVwkVO1oZ68w5KOkAWY1DZNxkeP8iS7h1vo9N6U9H4jgNmbh7Ly8789KXcVkk/zvUG+Egep98XmWoNyleOVjm9nqa3vpjj9fchzvF0fH58NSZ9Ka7t0galc4UWMS252x/FvG0VbXpE+q9vItfF0yc7dfObk0+iaqm+dLjWRQilrlQNM4BBuZfr4OvEnPEKppWxCRJmFyNQfz+gh41O8DpcKbDxN2XPPRtemPUG1trte4z1N/JXk/7ov444+jbOhub+gMPqVHHtuakMNd+YvpLPx2OvDNxOq+xiL9YeZQyEbHMhSQGpYGGPlFQxo8fj5NPPhmVlZX6FcW5c+fqZ/aptHQJk6sxiGUbfeYaXiCIovwClBWXAMEASgrzUZiXq99Q4dd6jVN+gn/MuDEIhHzw5nhQVlaCHHe29YVdddTulkTtlmFWDBos4YbUXUFuHgaVlMLjckf98RrOEnt3WML2S6wBsiUWWeItBHeWC4PLBiE/J1fdEuRLlTfGI/9Iud4cDC2vQJ5cC/PyNS66z5a4yIfEiEESjhmZlJWWYcyoalRWDIFH4giHgigoykdunhfBMPmQ8MVpYVERioqKNQ6GVVJYZPEhfx3yspepL+OKRfYRnf1eLzQTynFlY4TU1XKpG65wUIllz7KbMW0aygcN0tfjS8vKkCP1WMtRKEvMGA7DMPWC5UXQnvWA9iTWC11cEnd043V7JL5BUo8DUgc8GDK4TMIICIXaw2G4LONIGBTyobDUM9Y18IvSljmLNcTFbamP4ayg2uvMgJiTyJvWO3GvPDHhBC/9kEyd0XyN3PcmOePoizgTUX/gIVWKPXuS2I7EOkqy6r0lk9lmWFWZF6Ye88q2yUrPPsCYqT3tIuCtIdNeSXZzY8crB9PsHO1h2f3RkeFR+ZR2SVmdLe1Y/dBMeOe3QOm3q/JLlBdJExHLXEhiUBpocPLc6bmne1B41skxxxyDefPmYcuWLfrMQ9uamprw1FNP6Z4SM7OiU2ZJ7kFx2vvEfOFRR+Gss8/G228vw9AhQ7DuvXW6rnfMwkV4+OFH8IEPnI0lby3BmLHVkPRgaOVQvPD8i1hw1EIMGlSm/iYfMRmSHixbtkzobVzzsY/il7+8D5JeXHbZpVi/fgNGjRqFFStWYOzYsRgxYgQef/wJnHfeudhfsxcbN2zACSediPt/9WucdNIpkCzBVkn3GHG77O3lkg9zsXPnDpSKgpOfn49NmzZj5syZuOvuu4SHwTjttFPx5JP/xjXXXI333nsPDz30CPJE0QpKI5wxYzouuuhC/Fz42bN3r6abeXnS4sVYuWqVuidPY0ePwtSpU/H0s8/gqAULMXz4MLz55hJ43G4sOnYRnnjySdQerMWg8sF46ZVX4MkWBU1D633EKte+AvegmHVee13SZ/0vV1EQxlWPwZlnn4HikmL84x//0LKtra3DypWrcPbZZ2H16jWqYG/euAkzZs7A/v0HMHjwIF1f573Xm40pkv+PPvqYKMClGDVyJKTNaPgNDQ0oLy/HgQMHMHnyFKlzb+Pf//43qqQeXXTRBdiwYb3WqaamRinP9TjllNP07KD6+gbMnz8HIVG+9+7dI3VoJ4qLS1FQkI+amv049thjxd2bOOOMM7Bu3TqJYzDWrFkl9S8b48aNxeYtW/WeJzk//PDfcOEF52Hp0rclP7x45tn/YH/twa7PJDqMMHXGlFFv1x9nHXU+Hw70Bx66Ax7SSTJgG2lr4zYGSU9E7jvBgd8Jxx+HyVJXX3j+BZx95lnYuGmTtMGDGCxth+2Yx1U0NjZhyZK3VDZeeeXl0p88g8svvww7duzAoUOHcPzxi7F50xZpJ0V4/vnnMWf2HBlUlOJZqe9HSV/Btr9s6RIcd9xivCJycMFR87F9+05UVFRoHK++9hpGjhyh/dZZZ56J5557HgsXHi1t9yAeeOABTJXBSnX1KBwUWXriCSdg0+ZN2s4rK4dJG3wXL7/8sqaXZcfBCNMbK83kw+zViZcnSaGrSiJ2tDLWA2UPivOseWfysqSjyxJlQhUTiThLFAwZ1IWyioqKVFGRjHWJuUsKVNKhEu4my2s7WEFZUHV1dVo5eR4Kz0VhJbJDM1Aqp8drdSJ2DVghzwzHZLYddOqWeNa+uw5799Uobdu+C5XDhqPmwH68I/GF6Ukq3krpYN5esUp48WP7zl2oFT6WijKyZ98+HOD5LOJshbhpECVmlVzPOfdcHS0/9fTTYl+L9Rs2Yt/+Gm0gfuFn9TtrsXvPHrz51lI0SafHSp7tzRVFK1/8r8aWrdsQlBHtjl27pBJvRomMlJdJx7Rdnl9/43Xhw4ct27drPlWKMuEP+rF8xUpJwz6cLg2jzefDfunQGHeL5B817uGSrtpDtThelJNcUXSyJc92CQ9UOvbVHMCbS5ZhcMVQHKytFfPd2LNnLw7W10nYQbQIj9nSGJgO3nM9uK/QdzF1Br8ymi2dtBawkPk+FKF1zzJGliiVzMvX33wLgwaXo6GpWcp3r9SRZVInmlRRWb9xo9SrA1o2FEhUSl544UUUiTBcLsoi69XSpUsxdvx4DYvKBsuvThQUl4S/YtVqqZ/b8NaSpVKmrRJpltahmv21WL5yJQ4eqhMltEbaggfbtm2HVxSrQ6KkbNu2Q9pIttbfcRMmoNUfFEVkLTaKEN0oyu52Ec6sy1ulPq17b6PUwQJRYA5g4+YteHv5CgmfbWEtCgoLsKemBj4RqNvErU/qoAgaZkW/g+HKlFFvwxlHf8iV/sBDqmB9YpfgFpluIH0Hgpzp6KKuSWciA1W3Kt6DRPF/7Y03VC5S9vFLvWHxu0tkZ5vPL21kHyMSuVcuislOUfSrsEnaAgdwVCQoZzkQYd8z6YhJes9BwdChQ6SN7hC3W6VN1ovyU4vRY8Zg1Zp3cLDukPYfQ8RN9ejRKif3SjxsN6PGjMYGUZY2yuCkVAa1RcXFKgOKS0ukHe2Q+zb4pE/gQHauDEZHiX+vyOYcIQ5OdLbEAZpRNlEpimWfDjBUe8jsaxob6l6RcqDuZIgfcY+S2AVFPurVEJ8jdiE+yz2vITFXknCliENhkvTVYSomzc3NYaaNxHipiBWIXHrnnXfEe9dw5kan5/76Fk8s+wEHSQSVpmg65Fmn5gWWridGITGkG1uDppk+txulBOZfSEYdbuko9Vmom0GljMNZbmwg8WZQkkIM5gMBPwK+gCg+0vg8XrXXEjxMiWS0KaRoQMBku0lXb2ets5hjFHufoz/w0B2wQyIZcICZaAYlndDlFblSnrJjZNymzfO/Dlq7CYbD9Hi4rCPhW71SR5hyM9dYYDiZGZQo7Pd9swfl/Y4OOZoKnJVJnlnRjXJCZLk6TwvSLG5FTAIMj8pJt/lOI/oDD0kjRp573NnIzc+DO9uLkBRbiG56UDapwNmqgxJvQCSybsijAQWxKLNUaHXtXAxpxTVyD5VcmokB/YWtFfcI9W4CyNrhRn/gIYPeBxUQbRcy8Gtua5WemHXeaqepKiesM/Z6QzlK5YtX50AnU7/Sg15f4mHhcb2eUzocvZKovbFgxV+HgmXk3V3iOZzoCS+HMx0m7r7kwRlXX8bd1RJPd6EzXqyPDiWyN8AYOsYiyofwz2VGSRxyhw5F0fjRKJwxEcVzp6J09kyUzZ4u16komzUFZTOmonjqRHjHjkJoaBmCeTkINgcRamwVpSUyK9cHJZJqDMZ9OrnrKhynXbri7An6Aw+pgvWJXUKqSzzphj2mnsRKv8n6N+6c11jILPHEhzM3Oj2na4lHzCN37ZCERe4sDNQlnp7wcjjTYeLuSx6ccfVl3F0u8ciV2nVI/vtzc1A2dLiMuNqQU1SAkNuForx8NO4/qPunKkaMkLCysX/zJswYMwK1+2uwbcdODT+d4CgvKPxw8tgtckGliIgEd2EhCmdNRNn08eIggPote9C4Yy9C+w/B1eKDp42dgB/+sE/DIFz0JyGFRJHhHhhumA3mZMNfloeCUcMwaPRo5Ere1GzYiJrl78JV2wDmVEiSxHhdYUt0msmZnhRaqmVu3EdKKi31pSsenHap8tsb6A88dAfskEgGHGD25RIPYc+7nuQj/RLJ+DfxOK+xQBmUWeKJwn7fKTmdng/rHpQOrFoFmfK+gQwyiIAKBGfzWH9IFJTSqNSOyyK6wBFyIchZFk8WAtL562qaCI1gSIQIa6i450u7bq45i/38uXOwd/cebN26Ne0KChujRIugjDbKjpyMYbOOQP3ufdj7xnKEag4gJCNROuCr8CrXwtbyjN5KeviKuYFbNBW6U5NoK7du9FV0kUkcxfml/XmGlaNi1mSUjB6Fxu37cPDt1WjevQtefwjuYBhByRRtn0KZlphBPLDdsOONpaDQLoN2UHb0WEHpAgzVHvJAUVAo0foU7BBYGKy4CWFyNQaFY5gdLuoJL4czHSbuvuTBGVdfp1/n3mLcs1sX9Vg6XzELSbvztcETDMLF6Wh/QO85W5EVDiE7HIQ74BdzH0QjlwAkpEg4qZP8E8XAUFB+fuEhVFmBinNOwehPXILcyaOw9823sfanf8Duvz2F8K59ErfwIFG7xX9UpnG2NovnoejMq6VwRSgsYQZdooiQ9HwUkuU2i8pZFjsRN7KZTiolj76E7T/4I/Y98jRaRBkqnzcLo6+7HJUfuhCe6UcgVFgo7IvKEwrCQz4iWZlMPqSaV8Y9r93P547UVThOu3TF2RPqDzykSvb25aSu7NJN9rzrST7Sb7L+jTvnNRalLS+IWOZCEoPSQEOv70ExEDc6el2wYAFOPfVULFq0CGvWrOmgTWteJrkHRUeNkZ+TbVaGTn57ER1jTw098dtTmLj7kgdnXH0Zdzr3oJBvbj4dMWKkvm5eV3uow+bmeKC/9jorSpFUVK2rQVESBpeg7Jh5GHLiUWhpbkTDM2+i8Y3VCO49oEoRl3qoFPQ29H0EUWR8onkEhTyiDPm27sGhJctR9/ZK+OoaUDB1HIadshCF0ybBl+dFWJS4QHOzDkD0tXWSNMQsNsYIzF27SXKw+0vVbzx0FY7TLl1x9gT9gYdUQbnONpHuPSj0SWL75QwiDy+0zDv+tH1zhjFiT5h+g+bkg/0J7xlGIo4YCt1wFpVhB8VviDxI+7WOamDIFuJdY4G+MntQYsOZG52ee7rEwwpJZqZNm6bPkhhlkIdPSTgdKqqOYZPZg8JKp9PZFhhE0CujT68bOdRfROLrmwlcb/fLSNFnHZLVW4jFa7Loid+ewsTdlzw44+rLuNlAevSasQ1UKrjPgwc+8ZyTLdu26UF4icA9IVkhl8468M2aNo8bRTMmYsjsyWjeshv7X1mOrMZmeLjEpLMczJ++yqHEYG6JRIJHGhhP0PQFfcgqzkP+lHEomzhO7LMkHbvQ+t4WNO+vkQ6Kwpe7XyKeBZoH1m1SoDe6j3hPS26YMGPBadeV2wy6BjskkgEVgu7uQWE5BKXPCEm7mzFjBi699BK8/PKreO6/L0bbMV/7D4YCenr5hz/yIaxctRoPP/KI8sDY/G0+zJo5E2eceYaeheJ2W0rUmjXv4G9//4e05b3aP3WCBM+33gYPHozLL78Uw4YNhTs7C7k5uZqel158Fc8++xyam5p0jxd7bsZn6k5XdYi8c0WB8aaaJx3QZSSWlbEeKEs8zuR0eu6JgsKMZ6dwwgknYPbs2XjjjTdUMRH3au5EJwWlA6tWeKZTiQptEZJh6XRKj1+AihMXIOBjnomx2HPPQMOKddj3+H+AVsnXaOE7As7gfwKsc/H2oKQK1iSOoKig8IA1njYpDcCy7ACJi7Mk8uN/bjYNBkUeFBVgyHHzkD2kBAdEKWl6bxuyRVhaPiIjPbmhgtKfais5JF9UUqho6LHekpe6GVfyMhSQVA4uRu7EUSgdMxJZ2V40rt2MhlXrEG5r0WemR3ND/Fkhvj/BNGrZaRJZnq5IXskInOmXXoz1j6/ASg8Fd0EhsovzkV2QD3deDtwi19jZSQ/KCqFglmm+kUT2UcnVUTzlYEBC5YyAdNIclLEzD7T6EBTZF5YrOFjjAFj44WcxdMaPvElZqmhkkBGhy3IlWGe7C+m40rIHhenlm2qnn34azhTFor6uHq+99io++9lP4Ze//BWefOJpusL0GdNx9dUfQV3dIaxfvx6LFh2jB2H+4pe/VkUiFPTje9/9DvIln2+7/Q7poPfozAWz8syzTsfHr/0Yfvub3+LRR/+FfOnA2W7tYBvmqd6UHTwxmumSvhiFMgD/xt1f11Nqv/71u7B79x7px9oH0MmAsqnHCkoX0GK2bhUZBSUCFiYbIa8sBElMxKYzkp5BkWvUXu6zpKIUibAftHiBNEoZ0am9NAoZvTWvfAcHnnwJ0irEgwmxe51SbyBWOvsKJu6+5OFwppf173DMoLA2BrPc0nFIGxhUhqrTjkFARnIHXliGkAg6DzNEKCCk33OyvA1IBIV7t2hVHukHORUeFkHtHjIYuUeMw6Dxo+E/cADbXl2C8N4DyBU7nh2TqARMnTHuejt/THwGzudkIToDsrk5WaglHEAgz4WiUVUoGlONouGVCIs+21LfgNb6JgQO1cNfXy8GfrhaOUsQlA41IEpMSPxLvprOkjJMbnmhLCVxppgbl0NUcEXp8ErAXFYJeyRzRUEIZ3vgyfUiW5QeV34uUJADj1yzC3P1kDG/xN20fS/qtu5E2x6pj0Hr21/cm2QUlu6CnXgsBYXoqi+wgyzQJdsvTzzm0fb8DMX/+3+/x29+8xs8/viT0sdYsxAMm7MoI0eOwm23fQkrVi7Hz392v6TTKwrLUbjjjq/g49d9Ett37Falj30O+ydm6rUfuwazjzxS3NyJfftq4MpOpGRY9jwh9os3fB5HHjkTd935LWwVWeDycrmmve6YayxQBmVmUKKw3/fNOSg0JvG+K2gGJrkHJRoS79nxVFchb/QIEYrWCEHEpPyy0FpTgzYZnbr8FJ0cxdCLM+DDh65zpHdh4u5LHg5nevtqD0o0jVqBObINIad4EIafexLyhg/CrmdeQvOKdXC3NAtTVidgdQQ9Ga/2D1g5wA253L8it5KucHMz2rZux8Hlq1G3ZQcKKisw8pzjkTdrEuoP1sN1oEn8iXs302+VB986itxG84TXvsgfZxzx4iR73LugvMpTyB0S5YwfeASaxChn7GgMPXERhpw4D7kjh2o4rfsPom3jdtQvW43aZWvQ9M4m+DZtR2BnDcIH6hCqa0SwqRmhFlGepTPWmRDpcCHXsN+aGTHXkM+HkLgJcYakpQ1Zza3IampBqEkUnsZGhET5CRyqQ/BgLfzS4bbt3IPWzTvRKvKwafUG1L+9DnXL1qJx/Tbli6P+3AnVGHrMHAw/aQHcY0egzRdCy8E6eKSdqPyUH/cnecL8iKUOKZkVMWFkfzr2oDCvOVvkkrBIXlG6LrrwfLz99gq8t26jcCE1SPKddiyTwqICHHvsMdi7dz/eemspPOLeL4PXsz9wFlql3a1cuQLU57hHiop0+aDBOPPM01FVNRxvvblU/NWoQhQLRUWFqBZFs3LIIBy7aCG+eOMX0CRl9r3v/RB79uyOntBNmFR2lVrmaWYPSmwkUhEPL0yuxiCpV+3P3YHd/2GkDunoYzJx9yUPhzO9JFVOY9ynTAqKTYYiPxnBGjsqG5wiD0sP7S8oxbCLzkDlGcdg+5MvYO+/noO7SToSce/nqNeE9z4j9j8qXOSqZS5p5ax3tr8VwfWbsfu3/8Tu3z1pKXlXnYsxH71UOvSJIvly4QpIZ0PFhplo/EeufVF/nHHEi9MlPLqDHEQG4BfBmzNpEqo+cilGXncZSubPxKGafdj6jyex6ad/wq7HnkGDdKQ41KiKB3sDKgRZOutBih8PL4nSrf29gzr6kX9aKBYxbhfj5zNnaqjkiCLSuuZd4fUprP/5H3HgL0+gefsO5M2bhGHXXohRH7sQ2TMnwJeTKwFKJ6xh2uPoSF21r67suiQnqDgJH4kGGtwLxe9QXX75lbrd4Mkn/oV77rkbN9zwOfz6gV/iy1++Ebt371RFQwbj4iMUk0eacYvC7l17sWf3fqx7d4N+Z+u4447FySefqB0weTF577zGom7nhZOIWOZCzJ2uc6h/otdnUFKB5mU6ZlAEnEFhxW2TkUOrjBCyRGvXBiVwri0eTjgzvC9h4u5LHg5nentvBqUZhw7Va93V80YYpNeDouPnoHrhkdj1+As4tHQ13FJ3rQZnzRR0Pf58P4KppVImpMqHjMIbGlG38l09a8XnCmD4mceg7Ng58Idc8NXVI+jz69k0nA+lPw1DpH1v5ps9bC5zsLy48CbqiPRbUmYSfzi3EJ5RIzD0lONQdtwcVTCaV29A3VsrUff2Owjt3Idcn5Q3Oyux01FyD/hOb3qtNFnUDsbB5TnrzassDpPhodzcuR8NS9eidskatB1qQMHgUrQ0tUTcxQflb7pmUAw0B4VtzqBcqDMoy7F+/UZtxyZMGchHZlAW6ccE+RFX3R8m9j5/AP9+6hn8/g9/wr+ffgYvv/wa/vHYP/Haa2/g+MXH6xeTH/3HP2W0T/caXAcwfi4n+SWcthYf9tccwCsvv4oXXvwvPv2ZT0paPVjLD9OynujP+IsPusrMoMQGFYr+C5OrMSjShizqDuz+DyN1SEcfk4m7L3k4nOkl2UcrPRq5KCwlg2+MEV5prn7p0HJnTUaVjDibN+/AhgceQqCxSUes9He409/fyOQHR/Kegw3Y/9Az2HrfQ6hdvxllC2Zh1McvROl5i5A9voq9kp5Jw7NoenPmyV5GXFYI+kWRys6Bd+xwlJ91PKo+eiFKTpoNX+0B7Pzj37H5vr+g9s134PJJfeC+D5v/dFFf1Rt7PNrf28yobGT7gvDtOqB7axQRu1jUVfvqdttzQpi0Kyed4PDPQQkPYOQ9O0zhQvfhXH755RgzdjR+/3+/1/CoMAS4X8bXJnUgMpsi4L2acX+VKCHcD8Pn4VUyQM7Lx759+xCQOqqZJ38m77oqvx7JITsRscyFyL2VgoEFsm9Hp+eevsVDGjFiBIYPHw5xj8LCQr1yU9Dq1TJq8vm04hM6okzyLZ4o5D5LBFeXm2SfeAk8eMtqcfRDZTF9UF6t2wxSRF/mHQVSut/iOfqoo7Bzz15s2bQNORNHofrURdi7ZAUOLluD/LBHD12TMVenuvy/jIRlLpbMNc6cwM9XscPwjhqK8snj4CkvRrgtgNadu9EoCmCbdJY66vdYb+0R3GxMicJ4AtQX5EZntSLQWxsDjIZu3NLhSO8FLsC4yopROGo4SseMRlZxAXx1dWhYvRFNm7frrIgr0rlpOLawM2gHlQbKeY6aDbTTT/EtHjvojYoB37L53e8eEPoDnnjq39qeTZicoamsrMSXvvRFrFy1Cvf/6te6OV76LZx/7jlYvPg4NDU1adsfNKhUZEIennjiCTz6z3+Jb2vZi/Y33XgjrvrQZbjx5lvwysuvICfbi7u/cRdKSkpEEdmDpuYG5InfoUMrUbPvAB74zf9hw4b1OluTapWgbOrxJtkuwFDtIQ+UTbLO3Oj0nI5zUCZPnoyKigpdu6uursbGjRshDOLFF19UhUMSqG57VUHpp2/xZBAHzppohw5HHJUjCaRfQfHjqKOPxu7du7B1+zaUjK1G7a79yG4NWEsY8mclg7ymzu//OrjRVpULudcNmUKcXueCi7esBNlVQ5EjiotHlIlsjwttu/ejZZMoLnv2w9dQp4qENyuyqGavTxJmUOx8riBCOSI7BpejcMQwFIwcCnd+AQJNraL47EPTtp1o2S0KEBUXvmpl3rDqEFgG8UC5nnYFJUIsRA50s6VTd3PZ1g5xQCWmta1VZ0dM/IwyxKUZGRTTTKoAAv6g3NMNX3+XX6TTIX8cPPuljfMVZX7agvHyDSEu79De7bZmWRghlQvKF4IhWKEkj4yCEkWHrHPmRqfndLxmPGXKFK0QkhBMnToVL7zwgl6poFBpoTnRSUFR03YwrGReM2Yas8LZop9koW71Ozj0+Eu6CUwiog/wHIJOgfcAsXhNFj3x21OYuPuSB2dcnePmt24CGJ5diJOGDsJQERx8TVPLWWyDHi/+sXsrNrT5kS1DZRUoSTJPIRDvNWP9H3ZJpyZxSHgBLsNGhBX/y5hZp7UZlZ//yJMIq0ULF4iCsltfM7bv3s8gPpifSRaZwri3SsPhl7JAlRYpm6J8oCgXOYWF8A4ug6e4QF+pFeEk+oVb5QGn5AMhKV0p+1BdMwKHGtFSV4dQYzNQJ4OlNpEffJuIs7qRiFLltzfQH3jgeSsjhlfpAWm//e1vcbD2kLV02QUo942CQBgFhTByv7dhz7ue5GPM+hcHJh7nNRYog6jI9VhB6TISy8pYZxSUCIR5XcJhAbAg+CwJ0auEE+0giHTNoDCNCRWUXgBDV771qWNOG7vDD3JBoSJXzUd7kcuz5pHTvO/AiYegdP6jSwtwW/UwVOe5pb5I50PWxL5VyvpbK9fglRZuOmS7Sp7XrmZQwhIED9JiaGHp1ArKStEmwtSVK0JDRtnlg8pRs2svWppbUF5VCe77a9lXgzljJ2Dr+o3Yun1HdASVQd8jLPXWLUXJ+hOQYjAyQocy8kfZYqCzMVLeXNrhxluWOuuXdrW0U1cZ2FFWVoabv/hFHDxwAD/60Y90doFKXFd5RRmf7hmU9ysyMyhRdKhSztzo9NxTBSUVdFJQLOMoKHS6M4Ny8AlRUKi1Rws/vQqKydFWGaVNvfJC5FVWwOcOwCMdKwWgR0TfvleXYPdzr2iDtSNWOnsT4aDkVYEPH7nAhbMX5klVo5DhuZaANyeMB59ow5+faUVDa4Eolqyz6eXOmd5Yz1RQJhXm4MaxwzA2N0e3DLFDUUj+fW3VerzZ3KYdku4xiFglQlczKAQnRQiaZUvY3FNv7BmPvkqskKs4llaIY45aiF17dmLLtngnyWbghClz5+SXtFqLInnOMm8vHQs6hyV/LqkUqlBEQHfROpIEDA+x4LTrym1foa94MHt1qLhTVvFNmCuvvBJPPfUUHvrbI1I2wov8k07JcpgAmRmUjtdYYH4yr3usoHQZiWVlrAeKgmJv4/0PZDUO6eyKoQTQQrG7TzOpoBVyS9k25QRQm5clHZoHLR43mrNdaMnxIMDpf23dnf06zXqTQq5WubrgCbr0A3R66HYkARxLZrmz4RdW9ZVIh990kDPMuM9JtlN91dHmPxFpBxfjnuQRpYSULWFyRO4XQ57QyU2XYiz/xBH/RHhzH4TVjzLfyGxqfPxPkmRiKCg1Tg8fC4pAzkZpaSlksIOxY8dg1sxpOOHYo3HOmafi4gvOwaUXnid0vl4vkefzzj4dp5+8GIsXzsfsWTMxadJEjBo1Sv1zT1uZhFWQl6+vtQb9Qfjb/PpGBeMKB4WBCB+sY13V7UR19HBQb/MQlnLh6bW50nHxiPjvf/+7+OIXv4jVq9fg6qs/ioceethqBOLW2W7iUVfukg0jHWTPu57kI/0m69+4c15jUdrygohlLiQxKA00OHnu9Px+mEFJdg8KDy7y6EkVDL0dfK+ea9eRsu7kV3mRf1RDqz96EbKqhssInJ2/xCUqYLYoKwdfegv7n34BHttoglC/1m3vQyJj51pQ6MG1HwDOOi4bgTaO+jVV8Oa68Nd/B/CHpxvQ2Jwv+cG8TC93zvTGej5cMyh20JydH0d73OBdmF+AfXv34sCB/dIxTpKq5Ma2bVswZswYbNu5A1u3bY971P3/KpiHnGXiRsXR1aMxceJ4jJ8wGkMrh+pocdfuvdi4YTN27tiJnTt3St4e1D1pbGusCVwaltGZ3nNzrAFHmxyVFxTk61uB/IAb36zglWU1pKIcpYOKxW8YjU1NaGpoRl1dk34jZa+U4f79NXLdp0eUi8iCS8LTPScRJKqjhwPp4oFySnNUyoZL7FQSJ06chHnz5uoHXbdJPX7kkYexfft2ZOd4xXHPxrCZGZSO11hgWWRmUKKw33dKTqfnw6qgdGDVKsju7kGxfyyQ3zuxg8HxC5jf+tY3sejoBdEGRDCuV195DV+546vSueV2zD0HOEirvuYioCsFxbnjvI9hKShuUVCyREHxioLSrpB1UlB0iafvEaCCUiwKypjECkow0oElg672oDhBeyozvA4eNBiNjQ3ql0KdApeCtqW5WTd71xw4gC2bt+jriQoR6jy5Urxaj/o/OR4HIkzRiKCK5itnNU4++WRMnzYV9fX1WLp0iR45TsWAwpiKuiogbPUdMirJfIpWiNjQsyukbHmOCcsqJO2RSgyPPBhdPUoVS37Nljy3tPiwafMmrFy5Sl8T9ft8yJGy1s/4dx1Nv4GdTXsOGnPWc5ZLfl4+Zs6cIQrJPMmLKlHc6vHyq6/irTff1P1Vmm5baD051JJ5a5RJA5YF+aBdBu3I7EGJokOFcw75nLmTlpNkJQHaQHhIDu9JsaCZaD9J1uSqIYEesiMIy7MJJtFJss0btkkLFXN2IBqW5IFeSdYNp+yPOXYhKmUE1iqjOH63gUSFZ8vWrXjh5ZetkVbUn4ME3MNQcuQUZBUX6SuOzGny6RZB17JtF5o3btXzE+z+ounoKwKn1l2YM8mNidUeyRY1VLg9WVizIYSVG33w+bOlLPgmi9jb/feQEqWX9qJeotzrwcKyIpRJnmtG0p6QKvb8voPY6Q/qermeYWHz3xWxeuqbNnwWBERYKhzuSKw7QSqZUm8bmxolP/xolnrBQ5n0KgqvT+45y0LlZW/NPnzu+s9BFHqccPxiTJowHrkicPbv50i9Tstdm0eMuAY0SeFQzQhIO+HZFB/+8IfxESEqaC++8AL+9re/4fXX38DWrdv09U6PDCbc2dI2I20x+hZWF8Q6Ya7mPhExfHOcO7/DwtdRqbQcqjuErVu2Yvnby/Hiiy/hueeex2uvvYYDomTyE/onnXSiluHpp52Giopy1Ei58oh0Loaz/FR2OeLqC2K649Xz9lvJS/kLiJxtbWsRgywcccQROO+cc3DJBz+oSzdUyvi9mOeffw6PP/4E3hDFZOfuXdrEmE+2wHpOAna8JGPGMmA/QPRVXnaVd71FJk7nNaZbtiGpp5RNPcoTIpY5KQJzS6VxIJwka2Nd0em5pzMorIw8pI1EcATKT2FzJkQSpmYGbGB9/xYPR3DCZ8iPr37tdiycPw8+2wwKeXrt9Tdx5z3fgjdHRhcOnuzoyQwKO9tWdxjFbg9OryhGdW6hqLVWZCJmkSPhPL17H5bzg2Bi7CyoZNFxiSczg0IFpDtgrDyojV8z3s2vGW/ZoqN1hstlAy4JFYmiypH6sYuOxajqarzyyst4/J9P4GBtrTVaYu2SwrRU2YEDpl1J8r5V2tV8aTNXXXUVVq5cicf++U/ND+a1s30PBLD8WK7kn2+ucMaFZTxr5kwcPHhQD/SiQkO5RmHLgZBBOsvS5HEHMD+FP0bBFS9VoIMh4cODyZOP0G/MHHnkkTo65llTLI/3NmzQN2/q6us1bX1ZLoynOzMotNFXx6Xh0x15Ju8GeiuOTAhsw3SnYZJsbp0w4XDJUGc5u+CjL8E0ZmZQFB0Kz5kbnZ7ToaDwVL9FixZh4sSJeOmll2RE9boqKiwUOzopKJZxFKxc6d+D4lBQ5iVQUCLmnSBhsJSde1DC7qyIgvImap6KswdF/rED5rs0o7Jy8PmxwzGnrBBS6uqCdu7sLPxk3Ub8s65ZGpdo2/E5iQ/GY1NQzjwuG8HDvAfFCdr3hz0oicAy04PapPPaRQVl27a4e1C4AZEHPeXkeDF37jxceukHZRS7Rz8Vv2PXLgnM7LUYGNCDEKUenXbaaTjnnHMhgkbPNNJ2yXSkOSmmzpiS6u2cMvERLGcKCKaNnS33vPBcp5NOOgnjxo3TJSHKtOXLl+vsjDQay6PA1C1rYrkjNK+ErHK3Ukd3UTNeI/6LiooxevRoTJgwAWPHjsXECeNFHriwedNmrFu3DmvWvCMK8laVtT5uQO4wQ8FOWB8PC6icxFJQiHh13uN2YfzYcXKXhfLycp2hZN5If4Pi4lIMHjxI0hjQfG9r82H69GliXqIzYqWlJZpH0ilqPujm6bJSyaM10g8NU7+bNm1S915pj28uWdKpH0oHTB1yXmPB1K0eKyhdRmJZGeuMgiIQhrWCFRUVYfPmzVoxr7jiCh1tjh8/Xkcj3KgmCVT3nRSUDqxaBdmdGZRaniRrU1CEs8iVcCgoh3EGhd9xGSb214+rxDwZffvZMxMiYdxeN360bgueOtgitSlyomU3EA4HUFBABcUdmUGh8LQSlc4ZlCxXAIHSMriLy+CSvGAcjIVLeIHmRuBAPVySYVY6rA3IBgN1BkUagGWZBKigz5g5A9d89Br421rxxz/+STq7DcqTvUPrHnfpBdNKYl6JAMJZZ52lX2/9zW9+i7feekuXT5IrgfcXWPWYJxyNVwypwLQpUzFVlBcqLkOHDpUO0oe6+lqRcfW6+dcnMoidJsuXnbY326v5WVxSjPyCYqmfXj1incrrrp07hHZi+/ZtuiR14FAdNZ0OdaO/g3K9OzMoVPTHjR2DmpoD0l5zMGPGDM1DnuDK/qS2rk7ytQ7r31uvYXFvETf4viwKCzdKT5d7mnHvE/Od8a9duxZz5szRQxVpTiWTG6hf4tJ9P8jTzAxKFB1EiTM3Oj33dAbFCXYMEoYWCCuvHZ0UFMs4CvrtzgxK1+egOBSUNM+gdFJQbI2V0HTIP4ZLxaNdQSkWBYW2tM8SJcyFH4uC8u/aZgTEnEv43UE4ZBQUT0RBYUBWPGmbQRGhza+B5p24AIMWzdWpaA/3usifS9LfuGQVap95Ff6WVi0jlodRQMjJ+20GpUtIXgVEWeHo+MMf/ogKjn//+0ksW7pMl4Lc2R3fMDkcCEh7rRo+HB/84Af1680/+9nPVJli50EVM1o2vQSWEKMwJdXL0UXjM3A+xwPd2etxVlAGElyLkTrGH+UBzU1gXOLTP2kDnBHlB+oMLB+RZ3WvPgccqBzEUlAIpjsWjDw0sLdRvePSjJjZ/UefxYHmGh1GrNWOV+sx6o9Lst0WpAlgondeY4H8ZWZQorDfmxbQd5DEaCfhVE5igqzGIZ3JMJQAnJ1wiXQwZA+nEyVCLD8kXhyNJiYc/jQdAnNNDBVrncJJntiJstiZEaQuQGkbKwwBR40t0sHra5zNTWhpbEJrY7NQK/xShemVZ4qQ3xxW/0gCgxJ1wC3CV6404hkjahMJO1quCbLRIJ3noKRECjLJUORHYed0kwxJp8RN4Zu3bsPX7roTX7jhBhntvYsrrrwCP/zhD3C1KC1jq6sRDgT1/BCtyxGK5lUayB4uycR17MJj8N3vfR/nXnAh7n/gN7jhppuwbccOUWZzpfZQfe8cVrrJpJPXdKY5HjnjSDZOujMyhsozFQ5u4M8SWZclAw+XVwZl0ll73bnIdueJHTeluhAMhhGQ9uQW2VEqCulw6ahG5+ZhtMjJqtxsVIhZoagwLj/PkAkh5BdlRxR+zjtmIQg39y1K3Ga/O8vNztfhoq7aV1d2vFB0GOKyoSERsOrA6T/6LFB/8mj3zwMzzdWYm7B6g0ydcV5jUVd5kRIRscyFJAalgYY+V1Dez+BsAJUUO6iwWBQx6EfgGK074MFXg8qK8J27v4bXX/wvnnv6STz7nyfwzH+exDPPPolrr7ta8sFatnEmO/psoh6IraaXQEHFJaiamhr88pf34XOf+zwe/OuD+oHNL33pS7jnnntw2WWXRc9n4VsxWt96mofinwpnc7M1HX7ySSdKXN/QOOvr6nCDKE333fdLUUjF3iuj4UyZJYbJo+iVbzK6EQ76MSonhAsrS/GliWNw+6RxuH3iWNwwdhQ+OHQwji4uwLgCL4bneVAlNCEvF7OLC3FaZRmumlCF6yePxJcmD8dtk4bjc2NG4ZSKIajy5CLcau090Q7ZirHfwpodOjy/voqd0i+pn7Rf04YTDm7/B+HMkU7P6V7i6Qocj6VjiafT14yffKmLrxlTqZBON8klHicYovIi//r9Eo8E1/Etnu4d1EZBOKi0DJ/79KexcOFRaG1r0o/s8fBxGQfikUcfxR/+/EeULD5aaB7cvoDOnGhY0sE1LF2J+qdeQ6ipFUFPlow2Jaci0ZCTAbnEs3WbsJb+zXYG2vkEAhhSUaF7HGbOnIXRY0aCB22tWLECy99+G++t24CGxibhQ0brLikLl/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EEyHlTWCuicHmLbCF4SSTXu177aRIyGE7upFfiWC8WF2mLZDIrZUPbLAR8wQY8Es8SRKPb/d6c/RgLSoRDzzwAG679XZ8+ebb8Pi//i3mzZgxYxYuv/wKXH/95/H1r38NP/nBd/HrX/wEv7n/5/jtr36OX/38x/jet7+B2750I6699mM48cQTdKPvk088iVtuuV3oq/j73/6J7dt2ivLiQTaXIGLw0lNqb4/JkXHPa6p+41FX4TjtEsWpRS/kComCGs4WBSCMIl8rPlpViR/Pm4CFlV48umMfblixGT/atBtvHmrAgUAbgtlZyBWFwiOjDVXgNTwTYMc4yAOJzjyifGZl56BVBnO7WwN4s7YVP99xCDe9sw3fXvce1ssA66xhw/CLmVNxx4RqzPKIAiQKaVgUpayQ1xFuD9pAAorXvnRQkCEbdc6jbhERy1zIklQDD06eOz0PxBkUlkj7Jtk1OPDEa8hua0Z+jl/8cOVcFAqVOvQeRJPPg9ZgNu66/as4asEcPYyrHS68/vpr+Opd9+LsyhLcOnU8gm2cpdFyR9gdxN42N7685j1s9wdR/bGLD+sMik4tukVIZnNDryjGFEAMPTJqCra1YpA3C9ecB5yzKBt+vsUTyYu+mUHxoH7Jahz8z8sobm2E2xPU9BlQqDX7vRieU4hbxg5BdYGEyalxw0d/mEGJlFdaNsmmFdKCIsmx0iW1wRhI+evYnjMr8uiWkT1PSg1nST3VCtg+itP6plcq5VYec9Stz5aTHoHxJ1tmhHHPK5GK33joigenXVduud/EI/WTb5M1e1oxO8eFT42fjPca2vDnDe+hVtp+m7RHlwxQrRLoXh3pigc76I7f0mJF8ARDyJXCG5Ofgw9UD8aowjI8vH0XXt9/CC0SWpbLJ+2WXKV/lszAOYMSSGKT7P8a2EaZR9wk2yMkqNS0MtaZGZR0gKzGIe1TDXUFaQSc0p43Noy/fLsYD32rFA9+sxx/uWcw/vadcnzr+nKMH5WHNp5QK8LaEs0d0R4VRzpCEmaAG+CkcbtCDN+FoFv8RRochXq7uHegPTCliG4QvSZGhENbGHaSqoJcGbmNuOoCjL75kxhz0zVCV2P0DVdh9Oc/hLyxw7VBUKGglxjJbYekzxl+J+oO2DG2NuNL1w3Cw/eWSXmU4a/fKpFrMf76nTLccHWJ2NdL9FI9wxzFx6+mqY4ANfdi3CeiosIizJ41G2WimJ1y8slKI0eO0r0bDKdDfewzkn+2Z/MYkjzhPYs2x+VGkSh1g2QUPUyuI0SJGp+bixlFXiws8eLU0mKcX16Gi4YOwsXDBitdUlmOiysG48zyEiwqy8W83DwcIeUwXJSbQgnHI3WddYibO/lqvWRBBx6semOo3c5Qqnll3POarnzuKhynnf3ZbEBl+3ZL2w9KGgMeH04blo9fzZyGyvx8fHr1Wvxk8w7s8uaIcif5JZnC2YuQDJpMOKlSsukmf7mioXhCEleWR89h2igDqu+v34UvLFuDJbUHcXH1EDwwewKuHjYUQ90efcMuxF2lkhbGY5Vhzyle+9L2Esfuf5HSlhdELHMhiUFpoKF/KygmV2MQZV/0uStIa3OLgkIhQqkSEI88EM0vioafqQ/xDAeXKBrSmMNuceJULeSZnWQWv23LiMW1tmAJU/xTAHGWJCydaJhhixN2/taMQQzY+WZwvArMNTGs2SNnOIYoYMxgWDgTsuYeOOPCsVJ2wC1jOPLOfLFG03GhgfHaBXUDTEFW0CP5GBIB7xFlj18OdsnVLVe3qvOap+S/SwaZb0nwaCPNvRj3iaihsQGr1qzSjaLPvfA8/vvf/2Dv3j2qk6pe2gcUlLQGhLiiKNURXun0yr25mCQj5IWl+biosgyfqh6Kr40bhh9MH4d7Z0zBzVPG44qRlVg8eBAmFBYiX+prXVsL1tY34eUDDXi8pgYP7t6LP+/Yjz9tq1H6w/Z9+NOOGjy6az9e3F+PtxubUCcFMSzXi5MHleD6kcPw7ZlTcNeMSfj8yJH4QEm5bubMk5F7SJgLSvvwuYPS5qTNxCifDm03CTLueU3VbzzqKhynnT1+vyuy+TuQhWIZ8H5yTCW+PXkyNje34TNL3sF/DnBWTjp8V8BSTMQPD4bkQFVPFY+ElSo5eYpHGp8ryNakbZ8yzsyAcXDVJHXn91LGVy/diD9v34tpoqDeNWsCbh5fhTnFBbrklO3j69HijytWlGOOOJKleO2L5l21PdYZHk0Qyy5VYjwBCYufSAmG+eX22O6SIfrV/OWmOJt5LDLxmLi7irervEiJiFjmQqyzpIGGeN1o/4DJ1RhEuRd9jgNasXwSw5RkH8DOt5CmQ2CuiaH6dqdwohQDJnXJxxGBtkheu6DuIOKPeh5H4lH+SPIvS/7RPFkYgacNnd66IPtopeuRi/Al1yxLU6Kaqqd0trS0wh/wq7DjeT66TEL3nEZQf6mRdmbCB3OBywXsGBgUl/F8kVeLB8koeE5JPj48tBxfGlWF24+oxm3TqvGxcUNxVGkesiUZq+sa8RfpcH60YQe+tn47rl+9HjfISP7utRtw/7Y9eLSmDq/UN2O9P4iDkqagKCr89keux4sCLqvy3JoI5bqzkZudg+zsXMCTi5DbjT2S3iWinP1jXy2+t3k3vrRiLb6y4l38YMMmPF+7F0XZLnxo5ChRWsbj1glD8OEh5ZieUwivKCxt/hD8OhNmpdFKd/vV3Mcj09a1PCL3PaWuwrHbUcXnMzdyc28q/FmYX5iPr00ZjQ+PHo7Hdu3AF1auxbp6P/jtH6I3ZgfSlW5hUmub1+UXxcWDZw7U4Qur3sW9721Cm68ZHx1Xha/PHI/rqofgqMIiFISy0Cb1sFVGXn4pvyAHFeKfPx0IxYojQvHygebx7LiJu6SwGJ+49joMqRiCgrwCeKWO5mR7UTG4HIPLBulnJEYMr0Kx8Dd29Gjdk1NSxPtqFBUUIi83D8OHDdOGRP+nnXwKrrn6akyZNFlf2fe43BhSXoExcs8whg2t1P1W1VJ/GUfQH8Dwykrxm4+yklKMqKpSN1WVwzBE7M8843T1V1JcjLycXJQWl4j7Ycobr9y/JRoWxo0ZizNOPQ3HLTrW2s8VJ7/SVl+IWOZCEoPSQINzQdSZhrR8LDBZaCZK5enpxwLZmLnWG5YRQ2BvDVre24bhZT6cMJdv4Vie6J/ypLbOhdfX+LDnQBAnn3A8RowYpnss7NixYw+ef+kFTCwswLFDysiElruGJX+N0nifrTmIBqmUJXOmIFsqL9f1OfrXeKQT6/JjgZGgODYrkvQfNagQVTk5Wp8tK/lJJ/XGgUPY0OpX8055YygoKS8rRd7EMfAU5EleWCM+gq/+Nq3eCHdjHWZNzsLkkR7R8C1vRLIfC6TywDXMBfPnY+TIEZIdnP8Qc3Xgwtp167By9Urkjh4pVAWX5AvTqZ4l09t2S5ms24RT53kxvMIlcsRwKC6kCm3Zm4XVb7fguIrBGCSdqIar/gViz48Fbm/zo625RTpxvpHCw85IHL3L6FHioJKjfmzE6pnsxwJNV8OZp/I86bhFUOdJmbikbpR685AjPwrTIZVD0djSpN860ervCCcRSQw6ug0wj4SfUUXZOH3IEFwsgu7EiiLMlLqQLwJ6d1sYrx9swLP7D+CFgwfx/KFDWFJbj/Uyct8n6W6TkPTwQ0k7vzHC/VeSCxoNYalAVgnxn3WuhFX/tGw6kHQ/OtqXcomY8eKyCtF6FmI83Hfjk3RvF6VtSV0dXthzCC/uq8POlhaMyMvFyZKW86rKcGJ5gdTpfLT6fcJvE1okmGxRlLg7gWFxhcGEa+I0xGhpbviM5SadZCXTqpPMh5DU70kFRfjY6FE4o3IwtrW24v9t342XpHNvlFzmZwxSnclLlUwexLJLhcwt/7MO8Ofhf5E7+6Ruv3XwEJ7Z1YA1DY3SQYdwTPkgnCed+anlhThhWBGOGzwY+aK4bjxYr/vB7HWkEwlYJ0nGjLMPRoY72yiVHr7G/onrrsPmTRtxwvHHo76+DldffRWmTZ2CIUOGoqpqOE499RS8++5aHHPM0Xpy7NlnnYFTTzkJ7617Dx+75qP6tWoqDwUi/957bx0K8vPRJmV20YUX6Mmy1WJ/2WWX4u23l+PKKy7X6KdNm6rfW2J7/9xnP4tCkeFerwfXXHMNlrz1li7p8vRknux77KJF2LVrFy6XMNjmzzj9VA2D8nDK5MmoPViLurpDGseK5cv1lOnWtjZNeyy5xHRrPhnZ1F0iYpmTIjC33POS+VhgilABat8ka8mIKCTszhsb5T7eUfeScWjgJtl/vYR5Yxrw9U+Uih2TGNYlGKl/2LTVjR/+tRnL3/Phm3fegaMWzNaRsR2vvbYMX/3G13HW0CG4ZdpYhFt9EeVBwhItZLfPhS+/sx672gIY+fELkVc5HH7p3LmJkwPw5I+6T2aTbIuOYpwFFYV0Vt6x1Sg7+0TkiDKVFREGRFhGBnsffAre3Vtx1QUunL8wVzoMK9+JZI+677BJ9pjEm2Q93CSrDMu/HA/qlqzBwcf+g29+Ih9zJksHLZ0zy0RdyEjjuZUu/Pk3B3DblAkYl+uV9FKYGns3vrpyAw4MH467v36HJWTVSmIWgbln9z7c/8BvsWTZ28jRTWeWP4INhOeMsP6QuFlPGlLEtiPILnkuEME9tbhCeGxBU8D6wnWJ1E/OcuxrbsLoObOwdecubNsSe5MsY2cdYP5waVCnryV0v/TIRRLegiFFWDR0BAol3Wub9uGdg03Y3sJOXEa4IX4B2SMdiHhmXYjkQUTN6HegUsdlKCJL1waomFpLUlxmLct1Y6QoLZNz8zGuKB+lRXmobwniHenol9c3YCsVTvbEoihLwuHmpxDkNsT9XQKPlBWtWS4Mn+2Cz4xHBE/0mcoO6yE7X4JLhXTDJx008CcBa31Vt1wSoWupi+I5EGjFEOHhOGnvxwwdhvrmVlG6avB2QxMOyQDIKy41HobHCN5HYHlRKbPyl6kLg4vbVhZKPku+sRPn3hbd/9UFKH/5mjo7JYOAKOFO+WoHO3z6aW1p1Vfoec+vM7OtFkqnxjYu/Y8SY8+VgRJPYj75lJP1OzwvvfQKdmzfrh/qbGxs0rfU2O4ZLmdA+V2epuZmVSr5hXKGT3nGV/d5WvILL76oYZeWlMAvfikneOxEvig5HEjxnkpUSOomjxWgPWUIeWQ2FcogluEznQyX4bhEhvBo/q5APnq8SbYLMK/spZXZJJsOmFyNQdo2DMUBrTqkNi7oKjmXPYadbyFNh8BcE4PiVWALowPFgEld8nFEwM7GGb6TkkRHbyLkRMopT9LAo/wJJYbVPfPsiLw8UWZzcvTIdSoenG7NlUbO1zbVZcdIlTS2GPedKHJplM7rjf/f3nUA2FWU6++27T2b3hupJCShdwhSRUIXQZCqCCK9PaUl0otioQhiwfd8NkR9FjqCUqQIJCE9kF4328vdW97//efMzdmzZze7e++2cL67/86ZPvNP+2fOnJmqTXhPBtBldc1YHQ3g/cpqGVCrZCYtwqI0bW6W1Ny4wxDiABsUCUVXiWQmPiU3GzdPnYDHpk/CF4YOwaL6IO5bsga3fLAEP/90O96racJ26SpkroEsDtIyMuigIS3VWvVgoK3j6QtEwYCc4M+qO1rSuqrD01QrpA9/r7YB/7OlAvcsX4eb312mrxael9lmneRv34FlOG/McNwyZQIe2WsKfjxnJhYIry4ZORDHlxdhhgxQQ0QGzE00IBirRUD6yoRM6JqlLsREbOB+pqRMTCwSdkuZqPjJwTbBJfawuJfBhSRpichAWR5rxt5Sj84ePhD3TJuEJ2dNx017jMfUony8ua0Ct72/GHcvXYNXJN1VMumQKVhqX4ZWsx4ir7rcHaQllrSFO7v9R6QcIyKQRCIy0Icl8yxPtfcOw1Bb7YvmbdlxlSEqkwDGw/0bjdEmXXHh6kJDE0+urtWvLOmOEzWeYt0k7v/05z/jF0//EmvWrmGL0RVN3ccihRQTd80SBlehK6Xd8hUtwzVx0d3SZUvx0isvqxnjqpF4GiU+xkXe1zXU6/4zxsnVkKhMLupFzzQxfobB1duqmmpNL/0wnGoJp6qmqt3ya4sXnSbCy1xIYlDqb+jbAorhqgex7aT0acOUZOYh0qVNtoEz3UKaD4FRdw3tGlqFkyIPmNy1jMN4aCffbFXGWVvUATAYbtTjqpXljbMOzo5t3oiZobSgHap0SvaqpdfZJBqbx7ObqDC4kARnHdlPQYEdj3R08swZO1dF1CUTzmebuPlXXCAZjyBXAjmqLB/f32sSbpg4Vjq8BO5duBzfWLQUv5UBsKJJZlsyYdED62RgILOs1FvBKRxh92fiF29ZiRDCXKmQgSMuAx1XTGqbE9jS2Iw3d1Tjl+s34TtLVuHy95fgkvc/xC0fr8RTa7bixa07sLS2UvfljMoqwb6lwzC3vBxfHFSOy4aV46qxA3Hj5GG4fdoY3LvneHxvr4n44ezJ+OGcyfjBnCn47sxJuGvaOHxrj6H45phynD20FAeUF6M4OwvLapvw67VbcdNHS3CxxPnAqrV4ozqKrfEAGijXhGJSB4REb/Yk9TRp2+1n1Fb7onl7ba8rxAmL3mXkYdcR3mU6TSZOt+pFGYuX8DIXYhdF6m/o2wKK4aoHtZBI04YpycxDVwiUbANnuoU0HwKj7hoqb7cKJ0UeMLlrGYfx0E6+2aqMs7aoi2AurDUUR/pUlzm0qCM2Kfc8ntsjdzjUW2m1Uq0/TqflT4WLYBBzCoMyKI7D1yaMw+Idtbj0/aW485O1WNfcKO6kS7LD0gclhtux9PRnsl4htJ9PiyWWG67KcP05mgyjIZCHbcjF0uYk3qquwcvbq/Drrdvw6IYteOjTDbhrxVp8++MVuH7hUlz5wVJ84/3FuPy9hUIf4ZsfLcYNS5bj9pVr8cNPNuO3Gyvwz6oarI5HUUdhSSJlue4sFzstonjVo56mvpCGzlJb7ctuMZ523UG9wTsTp1v1oozxgvAyF5IYlPob+raAYrjqQey/Uvq0YUqyB+BMt5DmQ2DUXUPl7VbhpMgDJne7ikPmtRpGQrfNWX5MuPTLPTXOMFJC164g7rgKof5tI+bCelljmaXiSwfsBfRdCKs136FTT/Od5JytpDVzUTDF9pJ4PIRIMI5zRwzAfdMn6krB195fiPtWrsamZALZHPlk9t0YiAh/04j3M0isc5Ywy907MeE3V7GS3J0ndkGpVzwmQJ7t+pki6mku9YB7T1j/WA+5h6VZhEjuU+HxArrXgsHbpHW8HX1vUF9IQ2eprfZF87bsuoN6g3cmTrfqRRnjBeFlLiQxKPU3+CsoClOSPQBnuoU0HwKj7hoqb7cKJ0UeMLnbVRw8cM46+yCKgaEYDiwuwGElRUqHlhTgwAF52L+4GEMCOdbUdhfhGezKWSp9qksXO2NrUUdscs5W0pq5KKxUU1ArDDTiwrHj8YHM6q9YuARv1jUiLxJGRAZEdSV+rJUB0fjUKTLlSNXrWXv/1LOQB6ySssjpVvUu7AzXIre+N6gvpKGz1Fb7onlaba+T1Bu8M3G6VS/KGC8IL3Mh1nOvut7X0bcFlD6DvlS0rHHWCsFOygw4p9SthbEIBudl4/pxI/CtCcPwX0ojcPv40fj6qBKMKIwgykHBHnytNLUNNk7nHhQ1k595xZMx6EC1cw9KT5VbMhhHdSCCH61YjQ8bY8hOcJMhY5ccMgkqlfgw6PZSEXZzcy5AaTsi8fHIAalxPGRND2IRexHGubJircRYdZPELSY+dl+kU/fot2d6FB8Gfbs5mhrhQS2WzNIGB5AeGkSc6RbSfAiM2h70k7Z4HEWFBRg6ZKgeHmRo2NBhKCst1c/p3IO/yV1H4nBChnrwKPOdxK8iTMidDMwFa2gwzzspk2hRR2xyLqd2ZWmVivWPCvPAUOQnvNFvG2w7deN+9knJq1zaI+OeqnltZz1b5jzsLilSRiyWQFNTswjYTRg6oBEHTE9i3mEBXHxiGFedWYBrzyrBNUJXnF6Ac4/LxrEHRDBtfBLFuY1INtYBTVK7Y+aVDwNmXHaZptTeoZ6OWwVrISteGrS07wixXbRl3pZdR4lnEEXCEWRnZSvxIk2S0RvioWnOzbPMTzwWR7QpipEjR2L2rNmYPm0aSopL7OMOLHdeRL/Gf15uLkaNGKnPbbn1Ur0oXV6kiPAyF5IYlPob+raAYrjqQew7Uvq0YUqyB+BMt5DmQ2DUdiEzcX6uOu/E4/HIDx7Coz/6nk3fxVNPPIorL78CBfxen+dFOBiTqqcdicMB44fEWWZMZp8JaewcEKyhuWM8Y+N070EhUhuI+WxTWtDE6jsq0fCMC9EzQgdpbB7P7VMS+aEAppaVYoBk4tDyMhw5bAAm5mZJB8jTNcWNvUnWp12T1sNOEUuKe3eyEQ/x+HzWw2YZkKpx4HTgWxcU4md3DsID1xTh/Hk5mDUljERzAh+vbMbzbyfx8+cSePh3NXjo1zuEKvDDPzTgVy/F8ep7UazfmMDgwgC+cEiuhJOLn9xRjnuvKcPnD81GcX6lxNskJO0uyAsvReVg55nG7qXO86wrZD0EAzHwGoxAPIDc3CiyIzE9VC+k9/u4/bRNbbUvmne87bUkKmzdPIByjwkTMGfWXpi91wzMsYnPe06bjC998XT899M/xRGHHYJoQ4P6ScSaMWvmNPzhd/+LOxfcjpxICCuXL8X2rZsxcvhQDBkySPtOjYRxCFk9iRVfcWEeLjz/XPzp2d/hN796Ggfuvy+am3h8vvSE7OTsNJJMeblVL+oqL1oR4WUuxC6K1N9A3vddGK56UAuJNG2Yksw8Mv+ZsXiTQT0Wi2ljSiTiqsZ5EikblwdM7lrGYSegm/LthDNa53PGPzNW7IyhRR2xSWPzeG5NVpkFJRAeTlUtPF+1dQe2iTTyr21b8PKmCj3Vt1F4HmIr8gzDJy/yKheSsNh+sBQKfqzSPLettKAWR85pwJ2XleCp+aPwzTNLMHl4Lt5ZKGZP7cB53/4U13+vBk//JYT3l2VhY00OqhoiqG+AzJZ5yjBXWESYjAURj3KlJY7aaAjbxc3yLVn4y1sR3PXzZlx421rc+MBW/P2VGgwdkIUrzi7Bk3eNxDVfycPssUkUiaDCNUoesUGpva28ZJrSi8dZz5lmqbCi6t1hwt+ECCIi1iMv3IypI5rxtTPz8OM7h+CWrxZj8oigHioYFUE8GWxyhLNraqt90bwtu12SDR5+9vHHH+PNN9/GW2++m6LXXntd+8fDDjsU3/ve9/Hn//uL3mDOg954Iu21116Liy/5Km677TasXLkaNdUN2CxtedHCpdi6eXtqtUVSp0TwwLUj5x6J0aNH48c/fgKXXXa5HgLXCo50mvJyq17UZV64ifAyF3Lmpz+hbwsohqsexDaX0qcNU5KZR2qVwATvTLeQ5kNg1I6BgoiDdM8F916Q5NEFk7uWcVBD6p58t4BEY/agGHDWYJKTSp/q0gB7AevTDdHw3BLqab6TnLOV9mYuPGC/tLAeE0cHMGFkFFNGRTFmYhBDipqx7z4FOOqgUowdEUFxXp508uLB5d+ntqlF23UQzxhpliqclRPH9BHA5cdn4+GbBuCGS8uwx+ggXnuvBjc+VCnCyEZ899d1+OAT7oXKlZIKSdHnSBCc/fN+JH7tw3i454RHJVsnxQbtH+tJUs1I1ks6bTt6GVJEPzluDmVjydpcPPzfDbjgpo2479E6LN9YiWOOysNDNwzH3VcU4/hDkxg1tBm5EZkgxOKIJWISGmPiSS+67iLhtc5nV6gtnnmSKkxHRBpdBIFYCIlYUnjbiHioETlFUYwcUo+Dp0Zx+TzJz43FuPuGchxzcB42Vjbiu7+owLk3r8MtP9mB91aERUjkV30yEerk6lFb7Yvm7bW99oh8YHPbSSIscmVXqDkZxaw5s3D11VfhySefxAsvvoDs3DzJdwITxo/FKSefhAceeFBPip04cQJmzNwTk6ZNRNnAYglHJnym/xRyxhMIh/DCy6/gg0Ufi0b4KoZ01go0tMmUl1v1oq7yohURXuZCEoNSf0PfFlAMVz2ohUSaNkxJdh+sGKTTYtpZwe088PNHjZmzGu1YOZfJSKZSMLlTnvUSTH4N2MSNNpU+1aWLnaFpfC7SrsXj2U3sjLdWhLFkVRCLV1PNwserothcmYfX36nDX1+vwvK1MdTXNyLC06LFT5MMAnqnjkijuieFm2U1PPlnh/tZJr0YUUgP0BMD/WosCkSSTZg+NoDzT87CQ1eW48rTBsu4GsR3n6nC5fO34zs/qMFbi7MQQwHCvP5FBkv3p8GdJa+6YailnZRhoBmhnCTq6gbgmb8Al921Bd/47mb87bVaDC7KwaVfHIgHrhmCb3+lDGcfFcHeU5IoHyR1KBRHA++MisZ0kOS9V8w/64MVh/U6cufn8FSZL2t1wyLr+H0ebMjT1ONREeKiITQ1BdDUmEC0IYpYUxNCiWYUZSUwvDSISSPDmDMZmLtfEmd9PoTLzo7gvy4uwANXD8WCrw7GqYfkYnBJHt5bCjz8P1W45s4qXHv3dvzu1UZsr89GOCsfoWBI+qa220dHqK32RfP22l7nSfgjzJ0wbjxuvvFm/PSnPxfh5GXkZOeKpUyOYjFM33NPPRL/y+ecg0sv/Tpyc/Oxbt165GZn4YZrr8Fv//eXmDFtmvDUe5WI5SUpFmgvrk+t4HLvpXpRxnhBeJkLMcVtpLpPo28LKIarHsS2k9KnDVOSbaHrkZjXGHFK+JydiZQfj9dIY+G9LtadErzfJR6v11UGzggCiWx6tENIH6l62iJIY5q5eNoCG6d1F83O2HTWYINPhtKCdqhWB8+Y0tmDwu3AoXCWTJhE5QV8MpYEAjKTFD0PoA8n4zJP5kApgwRbUTSAkw+J4PbLyzC4uF7n5pytspMPcCDyiOOzRjx8LZEIok7GgBFlMVx8bAD3XVGCb543CEUFwC+f3YJr7t+K+39WgyWr43p9QTgrKEXKrdkMhMI7VycYXHqrEy36Dxc57ayrSkRNRqQCx5EINyIcjKEwkiPu8vHu0iju/0UVrn6wErc+Xon/fqEa22uaMGt8Fi49qQTzLynD7ZeU4rYLi3Hr+cW47ktFuHheEc78XC7mHRrECQeEcOy+WThuv1wcf2A2Tjo8C6cdnYPzTszD108twpXi/rqvlOCm88tw0wXFuPHiHNx0UQjfvjgilIdvXTIA118wCBecVopjD8/FlD2SKChsxrbqZrzxn3r84tkq3PvTatz2eC2ue0DS+KNqPP2XZryzNImGRASRfMlXRPocKZugtJ2g5NNabbKHYQcvOktttS+at9f2OkNs41wvLS4uwn/dfAP+8Y9X8cyf/qwrJzzvxoqJbTCA0pISPCXCy7333o+FCxdj+/YKvPP+h7j527fgpZdexuXfuAwDBw2UPnrnSkqKBFb/JeEJr+SxNRzuTR1yq16UKV4ovMyFmF7PNPdx9G0BxXDVgzjopfQu0I7GujwnD+q2XZiSzDzMKx7W0Ka6RnzpmCL87dHReO3JwXjtiXKl158YhP99cDSKRXjRQ7x4dqbOMjMDk7uWfDCmmYunLTAGNlASOxMTI2M3qqFMokUdsck5W3E+d5oU1mwqEs9CMiuJP/6zGY/9cjO+efEIfPULRWiONaA5LI5DXPqXTk9yby8e7LbECxF51D8zqq/YeJB/UwI5aMSJ+wfxwDdLcO838jFlYhZ+/a84rvr+Ftz3kyq88YHIeChCOCJCSDAqQXH1gGHKEx9U9S7TrlB74bjt2nKrK0J8vYRmEWabRaDii8FcrF6bjef/FcOjv6/H/J/U4LYnavCtRytxy6Nbce/PNuOpP1bgz6/X4R//acbbS2J4f2Uz3l3RgH8vacRr7zXi76/V4Vd/rcYjv92GB362BXc9tgULHt2C+Y9tx4If1+KuJ5uEGnH3Uw2462fVIiBV4onf1eI3f2/Ci28C7y0O4dP1EREEs0TAy0JebhjZERE6wpJuTXjLfHQXtdW+aJ5W23MQyyYSDODss78IXsT6gx8+ioLcfNtOYqF9OIR3//MfVNbW6WV+QR31rJ5W3wZL3YolmvULSa7EWJMKO3w7nXRrQX1Zj27Yfqy4vVUvyhQvFF7mQu2kuk+jbwsohqsexMEupW8DLJt2rB0wJdnNCIQQjyXR1FiPhoYmNDY0W9QYlU68wUqFvubpaLo7BpM75VkvoQWHJR1slByEiFT6VJc5tKgjNjlnK2nNXBRWqvn+mjP7cCAbW6qzcfM9O/DeknX4yfyJOGZGDlDbLB1UlnSJ/OSRs7M04u3jxC2k8ZgMjM2N2GdyDLd/oxSPfXswjj84B28tieOm78ss/tEKPP9WM2pqAsiJZCMgAyfPKaF/qgmz1KZkCzqqin3KvPvIHUd7cdLObPRmGnl7Pc/FsfKQBC+45q3puSK8ZOdmIZSVg1gygtrGICpqgK2VSWyqSGBLhTzvgJrViF00TkEtogJGVm4EEaHsHBE0soKIiLARigRF4BBVBme9eNNOi87uNQ1mhUkTqM/W9QFO3nYvtdW+aN6WXadJwhlUPhCnnDIPv/rVbyR7YmgtsaUoGArg07VrcMf87+Cmm27EJZdcrKuiDQ21KCnJx81idughc/HAA99F5Y7t4iWJk08+CRde9BUUFhWAFwhKam2IAC78Dgi1giNOU2fcqhdljhe26kFM/8489B/slisorAwsF75W4CqKVo52QQe7dJQW2F+RmBZ9ts17AiZ3yrO+AFc6UulTXebQoo7Y5JytpDVzUVip1l9SbytXO37V89bKbHzjlgpkZ9fj+3ePwpyJ3D8Q1Zt32Ynys2sKaDqPc4fdp4n/ZJYpDSusz426QTGYiOOgPQJ44LJyPD5/EE45MRur1jZjwffrcfldW/G714AtO5hfEWGCuRIOpRLxr+QMvzWZctSx1X7uTnLH0RNx7or6Qho6S221L7vFeNp1mgS84fjiiy7FCy+8IAKgCHYuN4wrK5KF99//D046+TT89plnccjhR+LMs87GpEnTcN8D38M5534FK1auRiQ7R9vkRwsX460335EJZJOVVgEXWwKhMDZv2Yqrr7kR//e355AlQiNX+HbuI7LIlJdb9aJM8sLTXIg5sHLRv7Bbr6B0HKYkewZaWXsQJne7FtR6CCw/+XGmQqTSp7rMoUUdsck5W0lr5qKwUq0/zqhsuyTCeo5EU6QOf3gzG1fP34yxw4Ef3jocB0+OIpmokWGdDmX2y9chtr++TjyDh5+lcsmjqDCBw2ZFcf+VA/D4dUNw1pH5+ODTBlz2owqcv2Az/ud5YHtdDppFIAnImMFJvBWO/GMDSOl3TaYcqXqVaabJHUdPxLkr6gtp6Cy11b7sFuNp12kS1NXVYe3atdAzTCjwutwY3nHVg6sh27Ztw0svvYQ/PPtHvP3Ov1HfUG+5ldGQ6QrKDGP5iuVYuGghos1Ra7XEDoPUHI9h3Yb1qKmtUbdOO0MmTrfqRZnkhae5kMSg1N/QtwUUw1UPaiGRpg1TkrsnUvU0I7zKAFh+8jOveFLpU13m4DVrcc5W0pq5KKxU6y8hhrZdMiCDciKMYCwLERmim6XT/NUrAVy9YBUG5Qfxo5um4Ky5WcjPiSLGTzgT3Lsgg7+dHBNOj5H842sBPvMLmWAyLv28CFiijzfHUJQbwLQxAVzw+Vw8fE057rq8DHMmAP96P4Zv3lOFr969DU+/0ojaxhzkid+seByhOD/HZI+fBo9tMuWoco393J3kjqMn4twV9YU0dJbaal92i/G06zQJKDMbUiOXm97gnYnTrXpRJnnhaS4kMSj1N/grKApTkrsnUvU0I7zKAOx0JPluVwbvVPrUNHPwmrU4ZytpzVwUVqr1Z7/nd5M1PgcREqElHirEs+/k4IIFn+Jfy2px5ZfKcf+lRTh4RrO+jkw28SsKp3/55/ncBTIPKb2tCjFKfgLLz1Z5M/CEkVk4/agIbjs/F/dfPQRnfi4bTfEGPPKHHbj8vgrc+P1teOHDIOpQjHBWjiTNFjVN2BkmU47KS/u5O8kdR0/EuSvqC2noLLXVvuwW42nXHdQbvDNxulUvyhgvCC9zIbZxUn9D3xZQughKqywMzkjtvWppousBmM+M9XM4SQ/TopeS2fa9B+aJxBrcOwhwPwYH3t0e1gCuO06ScT1ie/26COY/WYkrf7gFlY1hXPPlYtx3dT7OODofg4vjqOf5FvaSNf0F0axqh+uiODP7nvhlDV878VP3eDAqIQENzfIcbcDogU047chc3H7hINzzzVJceEoeBhSH8LdX6zH/Rw24+rvb8NgfG7BibQ5ys3IRCUt6JEw954UrRbpBuINpstE5192DvpAGHz2PdMqdfv1607PYLV7xmFcF1FoDLsmW0lOQZ6tntfUCp7UOlE6DjsHEppCwVVJWWA98b2+tEpiwqRraCbMfw3hnOE5XNDfUCi2DsuDlUNy1drrTxKTBCZoYUxNkG0F7wjK3fGhYtmeLHxxw7c/9bLIcUWM7TBk4qQ2IF4tvll9nHTHkXE5Na2k1BQ1FydMdiXA+2wiJJ27e+3BFAvf9tBLXP1iFF/9di2njRHi5uAwPX1uOq84pwX6TI4iEGlHf2IjmZuvALr3VQDO7Mw/MtyGac79IcyyBxibxEKvE5KHAl48qxYNXlOEH15bg0tNKMbS8AP/4dxPueGwjrv9RBX70TBPeWBRFbSyAYB43/Ia4/pOKIwWj7wJ5lUt7ZNxT7azftqi9cNx2mYozHeoLaegstdW+aJ5W2+skOXmXDh/pt6P+jTu36kUZ4wXhZS4kMSj1N7jT3Ep/+umnB7Zs2RKora0NNDQ0BKLRaKC5uTkwdOjQQH19fTAnJyck5qGsrKxQOBwOyWC8yfbbaWjXGspCTn6h8tWdGA70jdJJWwM+jxOyzIKRCIZPnYyRe06SWWdc/cakT+XldJFK6di3bseQnGpMHhUWQ25SzBa/8pMA6hoSWLk+CxWNcUyZNEFmj2UiVPDMCgYuEpyEsal6B1YsX46hWdmYWJir38vrACsdfzAeQ7VMU5fWNqM2EEd49BDEcvOQ0xxCc0hccRNkMIj4jkrE1+/AmCFNGDU4hkhS0sCEMhpJRzSRxH8+5pHNRZiUm0BRdljzRgQTMeTGI1jU3IzNTQmMGDEYg4YMlBwY+TIoUQRRVVWJ1StWoSkngtjQgTLDjUheJa2SPk2vxJFcuwWhxiqMGxrH4LK4zKJ5OAL9S2ihODZujWPF9mwMiEUwvjBLzK00kNfZ8SSikt/FkobaQDYmjB2JktJiPeXSgGnevHkT1mxah2R5KULlA5CMyxBn54U8b66qEaZux5ShO1CYxzNfCtROIVnaXpPExrVh7F2Uh8KIGAiDmFOmoUlG9bcrKpEsHIDDDj9E3HM4po08Cg+276jRI66XLVsGqY9qbhAKhfReDsJZl7zA034T3FQXlDKONYkJr+23V3ySMalbCcRiYex74CHYuHkt1qxZreF3Hky7lX4nyFIKIbk5QGlRPYYNTGDKqGyMG5aHIUOLkZMbRFNzADW1Uf1MnTf5hgMh5OUGUJgfEfuACiabtzRj47omLF3fhFUbG1BVn4fKmiy9X4TJ5f4/yZDGuRPUe/MlE2DIrXPcNox7k6LO+G0L7aXBbdfZ9HYH+kIauoKI9M0kg1gspvfiED21eurkXTp8pF+iI/5NPG7VC+yDyCMZQ22TLqLdSCwrY52bm4uNGz69V8qAS6Ak/QxR0hKlShK7aCKRaJJ+tUmeSaq37Zqppz8+i3mMlJeXJ0Uci4uMEBe5IC7xJLZt25aQ/CUlf0nRJwsKCpKDBg1K/uY3v2GKCaMSzudW2Wml71UBpUVSrYLcOahYgzN3bg+QQXDUiOFYvGiRDqAquogTDvw8WDQkA6swUefrjCPOgxds6OZAbgxMyACUWq62wiY4KKlOjPWUVzPjt8MLyUAWkojiaic2GkkSzSLZ5IpAM3rUaBkomrB29ad6GikTpenSIB3xyEAYlrCiMmJky+jElGhEgrCGr2OxviYSBhgrC8ykDb1ZkykRNwkKSNQpvyzwZUGY/yWdkWAEo8ePRUwGq2UigIXCAUQkgmYZ6LlRUrPjiIiDMk9FjYWTKvwleUJqG2AeWX7kGc9m0GDsZPDVjoz6YhlRwYWvvJy8CIgAQF1cBCw+a0B2jkWGQlzij8RYjkE9fdckkafyTp08RRv6+++/36rBU4Dg6aSsPyR2lKw/npBAecdLJNiEmZNLkR2uR1yEti1bt2HC+CHCnyBqG4sxa7/jsL26Blu3bu1wh0tByqrDBP205Y9lKZwJNpLZ0o3kiEAhPJc6q/VY6gp5G5TCTIoQG0pGUFpahmQkgA0iJPIGFdZeptWKg2VhxWXF3la8tDXps9DRvHmBeWWHmCvS1g4R1LsDjIN8ZTJ38rZtSFeF8vJybNq0pcN+MgdpD1J324qSaRs4cCA2bNiYFt/ThcWX1ryRMQArV67EqlWrWk0CnGDaae8WUOjfR0uQT2kLKO2AtchZk3wBpQvQobXDKyg77YPSEDhU8h4UQl+riKUwTvUE/bAD44DEgd6yYowCaxrZZTCMEDtHESwYPhskZ6hMQ1AGxYDYxfm5mhgwTUwL08jjf2gnBlZA3YjUoMj0hSM6mHPVxOpgRCgRvXFH0C33QPAzOvWXITAkJ7fdegPySXklaQhJZ67lJmmjasqOevLZpJmCVnZertYHfnpozA06tYIixla6LGHG3Jti1ZW4pCEqaQlgzux9sXHzZqxdv6ZLKyg74+kKdnKPT/yEcuz4ccjNycVHH36ILClnp5veAHlHKisbgMGDB2H58mVSZixDqx2YsuxJcFUzNzcPe+01E2+//bbWqd7kkRPkCQW5/fbbDy+88KK2T2c/1pNgzWEflg7YF7oFlF2toGh7E2Qq384WwH6X/UNXYKWqYzXFxOlWvcD8kkdpCyjtRmJZGWtfQOkCWgkoLZJqFaR7UOEzhYO9Zs5ESUkJqqqrMXXqVDTZUj4bxI4dOzB9+nS8++67mDljhlYGvqaRPOmg9uo//pFW5WAHN2L4COw5fZo2vvqGBqsyyIBVU1ODktISPUJ565YtKCgswECZuQ0fORIrVqzQtPxD4udA210gj4YNHYaZ0iFvk5l+WNI1YEA5QjJT+/STT5AjlTU/P18GtY8wbtxY1Y8fNw4LFy9GSXEJ/v7c33u0k2R6WR4sR85yK7Zvx7ixY1XYYxmOGTMGCz/6CAceeBD++re/Yu6RRwrfo7qStmHjRpkVb8KSJUtaze46s4Lizi076pbVkS6Swrc8vcmWQh/TzHKksBeRuKV9aEdQX9+AwqJCtWf9ZZ2kG8bflc6SPpiXkaNGYaPkl/UpKuGxjKqra5BfkK95r6mqQnFxscbLdPD8B6avoqJCw3E1r4yAfGWchYWFmtccEQjZzgqLihC1BybmnauKgwcPRpbUf6ZLOixdxfMqD4vTO8uks+lmG8u1y511iEIv00BeSIdqDZjCO4ZfJGmvk/SSX5WVlTLbJ1+7h1eMr1jaV0NDvQrOTCfLlf0V+Uchm+XIsi0W/vGZaWXapc9VXqWbLgrxBdL2GSbrD9PBvpNlxzTQjOkgP5g+8m9HxQ4USX3eJu2yvX6Bdkwz/Rmw7re1gqLlI5ORKVOmSD4blQ+64sYoxI6TuSJJU3NzDHX1dVqvR0o/unrVKvXLgmK/Tg9MFvNGc5ZzRNwyj5P2mITVq1epm1ic43LfAPnE/HQXyEJnSbE8fQGlk2gloFjGKbCyGQHFbW+ZWaskManAVE0FJSRxWslNQ6Q5GzgrBvXpgo2AM1h9lgHLzKaZBtoxDpMeqoybxExwcGOLSj8VbYNpYIM0cVO1OCj8kT/qmUa6Y9o1bbSV9Do7mHTRqtyEvPLNeNmZOaG844pOwuIh08pGTXdMs3FPO8N/J2jW0RWUjmLYsGHa4XKgKysrU4G0SjpWdrTkJy8x41J9qQipdDdq9BjUyYC0WgTDeun4u1L3TJlQeOPgz9cBzFtNdRXqauokLbmaz+0ygBQUFIrQUqXCAM0qK6v0dRRXgtLLuTeYtjwR2gaUDdD8sn3RjIIh+c2BleVGcDDJE/PCwiJpl1GsFz55DbmmjhibznBM487NwZDBQ+w6D42TwtLGjRswcNAQVNdUpwawQplA5EvnzVWoxSKg10l6xWOn4uwItK+SOjJOJgLSv6Jc6s5gEdKqqqqxZs0a5ImQOXT4MBlENmq9zpWyy87K1nrESdiatWtTQmlXwTSw7xkyZIgK0ywv1qWt27Zq/Ro2ZBhqJS4KUJzAbNmyWSYHY1UA/eTTT7Bu/QYVWNoDw3H2H8yLCoQCd9pZViyjU08+RSZLH0h9zcGECRMkbXValyORLJQPLMdHCxdh5aqV2kcdcfjheOuNN1RoGS78OuCAA6T+5+tKHesV21+VCOqcwFCoamxsknZaiuf+/ndUSt68pyfe6Ez9c9ZZp+oF057TFlDajcSyMta+gNIFdGUFxYePjoKDeEdXUDoEqYbs5N3QjkA6X7Vx1FU1oz6NQcULFG2ZDobvjM9KiZVGS/zdaed01S1gBBKlybNT/N6Znpbw4mVGYKfFlLsKKoZPyjPL3kAfac+0q0nmYcrM8MZKl6USVpIsN1quaminxugzBE2DHabzWWHrjblJnz7rU9ugGwqobgGFglB7oKC/fds2FahlnEn1+QyPAi4nmzXVNWiONeuqeY0IGrRnXGYFjBMGCpxcKd60aaMIJ8XKX7b5anFPQWzT5s12jL0Ppj1tAaUdsESdtaa/CCgtX9L3NRiuelDSw6w/Um/mw8Tdk2no7XLTQdDjuUskrYfHYLtJVydSbix9yozPVDNI1mV6Vn4Yx06i3rbT5512Tv/dQvYCneGxSUvL9LSklF8XmfR2Oe12Wlg2qaPJTbk47A1xYzivLnDG67TPBJn8WvVF1JCjfgilzKnKn9POGU4myMThflYSvYnbmYaO8ERKtU3ztuxIFTsqhB9BREUA4SV/m7duwZZtW1Wtrq3BjsodiCVimtaq6ipddWN6eAT99ortaIw2oULc1NTV4pM1n6BB9Fu2bcGmLZuxo6oS8WRCn73izhQZ/rhVL2qPF50iwstcSGJQ6m9g0+y7MFz1oAA3LO4G1Jv5MHH3ZBp6t9yk43e0Vv142dOdT32JnPW0J+qPO47erbMW9YU0dI4co6KLrFbYtn2mibKgl3l3konTrXpRxnhBeJkLSQxK/Q1Sk/owDFdtosRspG//5/86/0tY+4Ts+uS08X/+z/9l9mfamGlvRs82aNz4P+vn5FGXifAyF7LllH4HJt+JVvq+tAfFhw8fPnz48NE5GFnFoL/sQenbAoplbEEMKGmaLwB8tEQ4FE4xjDzipjEfLSENScnaJGnziQ8+dkLYwc3EuhdBIJ2Nqj5ag22O9Yd1iu2NvPLbnY/OwvRJXl8edgqseu4R3EDsaGWsfQGlC2hvBUUHEvnri1/xaFqtx14BKzd3vEtFUb2Uj1J/QE/yLuNf8eyGYF2StmwJcQLWo0wPvL3dXoh00+D+6oKvLaJN0dRRAz58dBhSGdk3sT6ZPjzTYKjOkPuLgNK396A4oBuJ+ijSSVmL0ugl9GQa3HH13VL10V3obJmbOkM1U3W12+qdSWSGSeVDn3ZP8tEm+s0mWa6g6CqK0Tvs3ESFGWuLFMatkJcbQwrbrZuotOfWaUcjLzsu6jndkdQt4XDfHWTy7pWG7qJMx6Vw5as9alGHHM9uouIVH4l2ig64JSlst26i0lG3uyIqJhw+O+06Su52Zsyc+hYk6Ez6nW47SqbOUDXPDM4ddltExRke9e31H247L7eGJ0aVWWTquSNExZmmXVFX2w3jccb7WSRn+bVX7rsi+u2of+POrXpRZ+pNu0R4mQtJDEr9DazDfReGq1p+1i+ld9iRuBQ9YfwEzJwxU59nzNhTT2nUjsO1PE09T1DcZ+99cPK8eTjiiCP0NEXuSeCS/9ixYzFt2jT1W1JSjKPmHqVh5uflY9rUaRLPeAwZPFjD53HQsVhMj2ceMWJEKo1cIh8+fDhGjx6tBxPxJE+eZslTZkk8rp1+PSHp4xJyTnZOKn+ZovIB5Tj0kEN0OZpp2Gefve2Dk+igJZj/gw8+CKeeegomT56sd5cwr3w1Qv6QeCT1HnvsgfHCE6aZmDVrFvbffz99nTJzpuWHYU2bNlX5QT1Ble54kBPLhCdU0p7lQP6xTAYNGtTmaxieaVFUVIQE72By5bMtalGHHM+GWDZFhUU45OCDkZ2VpQc+fe5zR7XY+yS+LIh71otx48fh5JNPFv7shcMOO1SXa5nmgoICHHPM0WhsaMCggYO0bmZFstAcbQYvkTz6c0fjjDPOUL/0Qx4MKCvDgQccoG6YPqo8npvu+cw6yGsVeAopT9Tliad7TNyD7xgkPcyEBU2jnSfmR/co2fr2iHG6+eLFJ+Z7osTLqyN4QjGvkhgzZjQOO/RQbVtMG91RZb0/5+xzcNopp2r5Nu/ioK72QB5xeZpl406Tm3ii9NgxY/XwLp66etxxx6pfhtHuZ5+70KuZzROjMp9efKJ5Xm4ejj/uOOUNP21X3tgw+WEb8Oqr2oPVP5VI+5uo/kgM52CpuwceeIC2U0lRi/R8FslZfu2V+66Ifjvq37hzq17kVW+6RISXuRDrgdaFfgYK5k648xCQQShQV1ene09kQAlIRx2Qzjcgg6vuRZFBKSjmQelgZUzRF9fXWl47D2ViMIRwlnUcubQ/25A8tn5moEiKmdM+Lh3Q+LFjcMLxx2OMdIIc2NhAKUR8+ctnywAQxFFHHaWDxoTxY7Fp4yYcfNCBuneDl3ONHj1KBtMZOOuss1BTU40sScPZZ38Ja9esEaFkMj74zwcyUEyUASFbogvgS2ediRXLl2PVqtWYNGkPGej3weck/P+8/z4uvuhCzJAOe9u2bSr8sMP46KOFmDhhPAry89BQXyeD+F56edqkSZNUANi8eQsuuOB83WNz7LHH4AAO3DLgr1+3ztoPEJRY7c+sTZ4N0ZzCATss6jk46qDucGPcjRw2DHNmzxaahX0lzRxoKChceumlmC1mvHfjpJNOwtatW/QujHPOORsVFTuwZctWHC+8ZT4nTpyAfffdRwdVnvTIDrKxsQHr16+XwXwuFi1apLy/+eab8PTTT8tzFIcccjAOlQ46KyusaTv33C+rgEYBJkd4epCUBe+V2XPP6VgufJ0gvOLR1Qz/wAMPFAFonJTfkXokN8vpsssuw5KPl+DIIw7H4kULZQDm1QZSndnJe/CIRD7y/iHVC5hvha1XaT2ZwPBhQ1WYolDGfI4aNQqrV3+CeSLMfvGLZ9IRpk6ZivHjxuqdQEwD07ps2XIp6wN1cKBwdcIJJ+jgQwGBZV8odW/Z0mU4SOwptCz86EPJ9wF49tk/Kt95nPill34NlcL3PSZOFJogg9ohIpTkSnyTtf7tqKjQslu3dq0KZqefdqrUzf/g6quulLKMqsCTlRXBgAED8LWvflXqWr0I4ntjy+ZNesJmRPJPXsU5SDp44ySWq9Y5eWZZxRPS5hz2VOIy+E+ZPEkFsKGS1/LyAdo2D5KyGijP5QPKcOopp+CNf72B2poa5Svvy2JZn3HG6SrEsiyZXx5jfvzxx2FvmTDQ7OKLL5JyH6xt5+ijj9K6zVNAKQCeeOLn9b4o3tHCdrZo4SJcc/WVIoiMQUjcnHbqaZglgnRRYb7EWyuCYTmOOPwwreeHiGDOY88vueRizJ41E8uXLVMB26oTO+uNu29x60mmzdGPaXct6hNJ8jygtBTnSV3/xc9/gWqJe9995ogAup/eKcP2xLucmC+W/yWXXCJ1aBmuvfYa7aeYz6OP/hwDkvr+dZ0IjBo1Euef/xWta9u3b9N6x4sFjzzyCD2K/qKLLsKnn36i1yCMkT5tbyn7UCSMtevW7qz7nzFylp9XWXaU6JdqR/ybeNyqp1v5cbLF8jF1qUtEeJmTbJhHCrK1NVX/lPg4+zPEwTVFYhcXoVdVQ9Tbdgnq5ZlqQsyVJFzpMhJJUiwWS4o+KW06yT6FxHi514Z9Ha+S2BUcSVe00vebo+7FjDNwXr4Wk1kwhQ42egoqBO8fmSGzPV4utfjjxdqxFcvsgx0iBwDe0VBSUqoXrfGYZWGurgDwkjN27Otk8B0ls1h2sq+//pr645HM7PAGDR6sgyvvFpkoA0sVTyuUAYB6dkDZMstlulg4y1es0PtT5s07SW+cZUfLgXqLpG+YDMYNkj92TuzMwtKxcHBrkLTxciwyRU9OpPDhAAeTjm6S5YDJu0Z4IRhncrm8/Vc62zLpSNet26CCATvy3/zmN3rpHleBeAEfL31jungTLS/l44Vh9Q31ynNexLZVeMaBiHoOPryAkQPXOhGwGCepQgZezvgGDRyIT0Xwo8qOvr6uXgakYeJ2ra7Y/P73z2Cw+KVgwGOsOYCxyFkeFB7HiiBaU1uHjRs2qLC0ffsOmSFHRQAo1NMjKRiyMbhBs/Y2yZrlRPKSxPtZeFEhebBt23aME8GWFz7yTpBjjjkGS5YuxUsvvqgrZ3VSH1gnOGBs2bxVBJwpWLt2nXY6dZJWrlZJO9IL1vLz8rCn1MWkDPwc1OOSBl7UyHrAetgUbdKBiHzhPSiDB/O+mFoMKCtVIZAC78svv6xtYZIIUaxb5G1VZaXePVIr8bEc8qQT+OSTT6QchiIWb9Z0sGMgH3iXi9VjtgTrEjsQFVAERoB1tjn6or5UypK3w8bF3txlUyr1qEnSZdKwWQQjui2QvFHgZl3j4Mk7ZygAl4kgxfJi/aOw8+933pFJwVrlC1cyKyt36AWITdFmqSNDNK88opzteLPUz2EiTDIurpBsFvMBIhjxTptVIlCyPs6VSQMFXvKc6Vi1apVeskhBiZMUHpvONs42yT7C5HtXoHBCPhmwHnEl0lmfAhIfucbLTClc8IJE5nnIkMGS9i3SN5VLPa6V+luhq09rPl0jQvEkLFmyVPqhAr0viBd3Sv8qQiUv+ByAWunTyAPyjPxmGXNVjRMwtkEKxsw33Q0fNlz4GMM6aSfMu+kffPQ9sE2yPnVXGTFUZ8jsj/2veDqJVgKKZaxgAyNxUNFnMXMnti0ExTH9cIYZCMhMWwZ+dkQ06yzoRwrE1lnoSFqsNFsXhBHsyDraGe4KDKcrX/GYdKdU5ZF1ARmFqa6CeWMYbj4Rbl459aY8jD/lmVCm+MROgHwiGG5XvgijexUqhMijrqTNHacXn7zg9Ec/1FNlWpg3o08H9M+OkuERHa1LnYGzzA3YNvhKhvG6eWrcm9x3JofKM/Ggy+gOeKXBwG3n5dbUJcNzqt35hWF76fXRPpy8S4ePpmQ74t/E41a9wDpjBN602m+7kVhWxrq/CCiZ6fm7C0yqTexgtJMxeofdroiKlLzM8rIRlkGF4eh7YIebjpIzDSkzl96L6E9Eo5ReBRWHfW+Q+/0o08g9EtxD4HTXWdKbfOXnZefmlVNPP05/fM40n9zhO+06QvTD/Ry8WbaraWMYzp+XGy9y+zFqiK+2HPp0yBm+08ypT5e82ksgKe1T6p0XT5311Mtve6S5kbBbmbv0TnLbebk1PDEq+5NM88lJnc23TzvJybt0+Ei/HfVv3LlVL8pYvSG8zIUkBqX+BukN+jAMV7X8rF9K77DbFWn/5CAvN71FvZkeE3dPpqG3+d+iDjmefbLI3c6MmVPf0+Sspz1Rf9xxeMVpeGLUtvaHZYp6It+7K/UG70ycbtWLMlZvCC9zIYlBqb+hbwsohqtaftYvpXfY9WfqzXx0RLrPNPV2ubWoQ45nnyxytzNj5tT3NDnraU/UH3ccXnEanhjVX0Hpu9QbvDNxulUvyli9IbzMhSQGpf6Gz8QKSl+m3sxHR6T7TFNvl1uLOuR49skidzszZk59T5OznvZE/XHH4RWn4YlR21tBcZp3lZdtpcH8jJ7pIFFvLuVz+kmXMhmelXIrze2Fa9yZn5cbN9Gd8oFPHnbm5zTvCNHPrtJLMnFSNXG15act804T4WUuJDEo9Te4P3Vgdpzo3c+MHRxVKVMgcSmn3Qntr8hEPgIBa1+E4RE/P9WzQXYBE3d38JIVgeG6w+5IXE6/bkqnkXF/g3N/DTeXdtemxragnVFQyoaVW8iaPTFnnQd9tcXnroI80rpkb9ZjPUrt18oAnFl1tm8vJPkFpJLwSfxxL0mm8tke3HF4xcl9P9woa1JEHimvHPWJz9zTxc+IeVYMNxvrHq9IBGHxX1xYhJDwm59BV2zbjry8fN0sSV7zqyZ+bZcjfSFjKMjL07Nf8nPz9Ks5PUtG4jzt1FPVzZaNm/RspvFjx6k9d4FNmzoVxUVFiEm8eRIWKSxddFlJiZqVlZbZX7K1XxCss8cecww2rFuP3OwcZEkb4heK/Gw+R9I0qHwgJk3cA7GoFU9E6g/dMH/MZ0lxMaKNTSgtLkG27nELaZrra+tw6MGH6Fdg/ByeX4Uxn4yDfGFai4uKlcf8MpAbO3f1pRW/nBozajQmjBuvn9bTP/lE3jE9WcL7gw88SL904jP5w0/myW/yjcQ0M/0F+fnqpkDKhekvKijUz+jXfPKp5pNlQTdS0JpHxsPzk8hbhlkicTc3RfXrvEGDBusRDfxSi/XEWZP5zHbnrE+ZBkN1hsw62B8+M267pPsCDFeFLPlTGpLRO+wyRQyfHUkkSwYxl50wHM2xZpWe8wsLEMnOUj3N3W69iGHz016R5PRTZhYSP411nzHRk2R42FlecmbGvJNXzjIxRDPtjIWPrIhh6ZCYV/KqvbgYLsMkTxIu4ueSJGkD6tYr3o6Q019Xw+gKMS7ygINsUU4RCrMKkWxMSkfW9fInP51Clv73cNcZYjrdfEmXT/Rv2kqBDD4l0uFnSdcT46fuTLvLPcufvMoOZaMkpxh5oTzEm+y8diItrEsBGcw6e/6Hu4561VmTDqN6zappJuOOqvzCh22BnwHPnjMHg4cM1jN+eP4Sj0PgoYfkDw/9GzhooNoNHDhQzXjGCc8s4if6PAaAwfP8loMPOgjLli3Vz6+nUBgpFmFEBvtB4p/HK/ATfX72zs+uea4Pj0AIifDAs4f4OfikyZP0E3q2O2e6W5GAn7+Tj2zTPJOI/nj+Ez/35iGUPApg6tQpIjwENB7GQbM5c2arADJ37lw9r4X5LysboIMV88a2TS7yQER+rs/w+Mk3D5DcZ9999CyY/fbfD6Vlpfr5vWf6bCL/Wd4Ml59oy8Cp4fFwQB6kyXOnZs+eLXlpEA9JPaIgJvWS5ywxXUwT4+ORABSI+Dx9+jRND8OkvXVGlgg7wmv653EWPN+JcTEeCph0f8ABB+jZTnvO2FPd85iIavHLT9EVrnQ79V0mwstcSGJQ6m9g8p1ope8356B0BZJbNh5K/jxzgx3Beed+Ca+8+ioeeviHev5ISKJixTzhhONxzjlfwoYN6/Hpp59qJ7DHHpPxt789h18+/Us9dyDAjtCRNEp/Jq1z5x6B8y84Vw/h4lkMPHNlzz1n4sUXXsDjP/4xmpopwHYNnFF05TPjziKYDGrHuPc+s3HPPd/B8qXLcfuCO7Fp6zZEJA2Mnfk988wzhE7HkiUfy4xnm3ZYPJ/ixz9+As8/9zwZytA0TIJPPCvi2OOOxYmfP05Y2LJ8OcNjw5+x53T8/g9/wkPffVhnfia/HQXLsb1zULoLPO9kr72m4rKvXy7Cby4+XrxI88POcumSJfje9x7G1m0VSMjMjTPAFpXIAeZWSfJNYW3B/Nv0lNvrbvovvPTyqzrzSxesS+xQzSyV9YiDXlfbHGfaPA/n8su/rjNknnXDAXGszPQ5YDz5xE/w9+dekHYo4UuDj0TCerLu3LlHYuPGdXoGCs/dmTJ5Mt566y089tiTqNheiWA42KqeEFrvJZw9ZbDk4W9cYbjltjskjuel/K2TjjMBlh/5ZMA86WWBHvWJ6eQJxcpTKUAKWvrMLFOwkfptDaxxsZbZdEjsaCZ+WdY6kDMgeVYzCj5aB+K6ksPw2UZk2qrm6kfSQ9csNxUGRM8i5BkqfGb8OuiyzonZrkCh0aSTznkeEmsIw7Pik/hpwUgYHONiHHZcusLE9Mkz/dANj3xg/8v0m3wYfzpxo1bCM+mjOfNO8/ag/OAKsjjVXolpEvC8IQlE/qwwGLbmgemz4zEq3ZLnjFq/krODUYFKVONW88Ef9fzZ/rUeiDV5z7zQzLjzygPdsT7RvjvAUJ0h95fPjN3caKXfnQWURhlsDzrgQJx80kn48KMP8Yc//AEPf/cBPdzqoR/8SAWUbKk4Rx99NL72ta8KfR2ffrJWhAGunsRUfeSRH+hS1WOPPSZCSoM2QAM+cRA8+eR5uOiiC3HrrbdpJ8uDlaTLUmn68ccfQ0NDI66+7sZWzO8o2MB6QkBJyCAyd+7hmDfv8/qqhDOFe+57EJu3bhe9dCoy633ooQe1Fl11xTUyiFjnzXD5duZe03DHHbcLj5/FT3/+C2mMOXaoFp8Ilis7Mmc15ECcX5CDu+66S/i8CD/96dOICu9NXjuD3hBQuBKwz6zZuGP+t/H4E0/gf//n9ygqLBabpMzGanHbrf+FOXvPxnnnX4iGaMzmhXf9ZpaT0vGyrH/wg4fxwfvv4KR583Db/Dvx6j9el/yxO+48X5xgeWVSQNHUCI95kBqXd/W0XwmqUer8/gfuizvvnI+bbvoW3nv3AxmY2YFbcbJ8wyEe/x7UJfPcvBw8+NB9WLV6NR754eOolRmpdvQ2mD4eusbj5A899GAR/J/Dlk2b8a1vfxu/+OUvdSLR4wIKy0vySgHtuOOPVWH95ZdexuYtm9Wch8Xp1RciaHAFgTw/9DBrNv7G66/LhGmuHtS3fv0GrJZJ0Y7KSmln1knMjJ+rUsw3P3lnX8L0UFDgeU98ZXDkkUdqGngQ3KfSp7HvVOGnk0VJ51xJ4MGIa9au0/h5evTUKVPw/N+fk/phrQKyT2Q+GM+YsWN0Vehvf/ubpCem6WZ5sS6xjk4U/zxIjuW9ceMmfLrmUz1IkIdTMkLWFx5MOGfvvbFi+Qp88ukn2m8qWOxt5IH8YBomTJwggmwFli1ZSlNN7/gJE/QASabXmuDIQJ2do+2Jqz9cNeHhlO/wsMC1IkhLRBzIdfXPbnemXWQavoCSQouSdU+53NzpN0fdd4XYyLki8uILL8psfwnq6upxyskn6WmPb779b6vhxQNSMXNw9DFz1c1HSxdL+sKob6zHHhPH4fOfPwHPyQxwycfLJUwJlByww6fC9HI5lUemc+Vk0SLxL41Qyk/My3Duuefg5ZdfwocLF1r+bb+dITZ85kUqiuqlfKyO0uHGiwwP2+KlyQpnZnxn/LVLL8F+++2D6667SU86HVhehn/883U9RTUuHcMB+87GOV/6Iq678WbUSMfK5e2kSJnhSFAaw0Zdit5X/H/AE3Sls+XrLsbNSCyVke6kuHT6JSWFuHPBHVgsvH/ypz9T4USrmbrvHNFfarlfEJOwFC53mSS+ksrJjkjnN0cHsDffekNanXTUSZn9ZoXwlfPOw+pVq/Hq6//UQY5+vMqC1CQC8wH774/7778H9z/wIN7411uQCQReefU1PZnXzGa9/HaG2FkaHrMe6WzW5aZTJGVJ4UHLVQz4v76hQY+x5wmqPDm4tsYSOFgPWC8CMpDymfWnoakBY8eN02PuX3rxJSxetEjtnXEw3xycVq5ciZdfeQWrP/kUJTyd9nNHiSD3PpavXGUNzrZ7ht0Wn912Xm5Nm2OfpDyXbpWvlBS2m6S0/YEDBuAbl1+Gnzz5FAryc3DjDdfKQJuDr0i7n7zHJMw76Qt6JcBq6RuqKqvwxTNOFz/lekfV8OFD9TUCZ/xHHnEERgwbJoP6MJx26sl6ncdRc4/UfSZ81XP2WV/U6xH22XsOJo4fj+OPOxZjx4xETVUNTjrxBNTX1em1HdwbIQ1a73Viu2ZZO/PlJOabakDcn/KFL6C0uBjnnXe2DOpZEt+ZGs4BB+yLL3zhRG3bX734Yt2zcYbUycL8AowfN1r6g7NQuWM75svkhNdDHCuTvf3321fCKhTBKoy9Zs7Q6xwoxDEv3OuxYP7tqNpRiRuuv05P9T7+uOM1T++K4MDD/NgvsE6yPN31PRlLoLAgD7P32kt4e6KudB933HH6SmrI4EHSv39BT+W9+aYbJM7BGDlylF5XwldRGzasU6GR13vwlHDeWcbrJq765pXSf++tr+h5krMzvrbI1Bm36ulWfv5R995wJF3RSr87rKCwArSAaIWp+sj/JtNcyfjZU4+rIGFWUMLJkAgZzSgtK9E7Pzg748oBJdBPpBO86+57RHBZLjOEbCkplvFOSHeokIJCsQy0V115BY448gg9Ep1L2eyUb7rp2+o/IINWV8HBpKsrKMpLenOwyITD9NOe73HvumsBnvnDH/Gr//kVXeDqq67A2LGjsOCue3QFJSad8QXnno0vnXk6TjnzbBmMd8bP0OrrqnH++efLIHMi5s//jghki1rMQN3gwMjNZTfffD22y4zzYSmPJul8uHmuq2AD6Y4VFK1f5J8pQvvZrGYkpf5wY+BXzv8KviQdtnk/znJbwNWPV1/X14MJ+nGUgwHTyiXnW771X7op74EHHtCj9wcPHIT//u9f4Jb5C/CP117rk694CIbBGezll12G8gElesEjNzs++eRP8LZMBCxOyWAvmefAw2PezzrzDBx28EHgZYhclfzTn/6M3z/zjB4Nz3JkatpLEWe9vP/o7u/Mx1NPPYW//O0FS0jKECicOOsv6xFXMVrUJ+EZhUa64/6RaLRJ2n6t+tV9WdG4tlvmv6amRnnMjpv1srAgH9U1VboaQH1Y+hf2OQyDgzQHS/KRwguP+mccjJuvIPJFOOC+FtpxkkV+sb7RjNdV0B3jpVpZVdUuH1m3B8hE6qYbrsdDDz6IpmbrJG+miXWEEzDGHRWBh/eXca8K88DVvEaZxNEt92nU11ubcemmtrZaX/nOnr2XriC98eabaKhvVIGSqy0E+0eGxTQy/QSf2X6b7L6N/SjNnOCr4kKJn3miPfsQgs/kRyQS0vrMNDc0kK9hnZgyzYWF+XqtQG1tjfC9QCemLBde8yGepTxqWsWXKTCPTJPpezMNhuoMub+soLi50UrfH4+6ZydPOy51Hn74Ybj+es5aclN+mqIxPPvsn/DQQ9/VimlBZmpSOX/21BMtBJTsUFhmDV/WiwCvuuZarKUETdeShpKiUtx99wJU7NiG++99CJXV1dYsTR1IXDriJHD22WfihBM+L27vxXvvvSeV0VrtYAO/597vSEdTiEu+drl4smaBtOsMGE5nBRTy8RAZAO7+zh3KFwOG8MCD39MlcQkWN9xwnd5B9M1vflM6kWaNi2FfddU3MGbcKNx55z3YumWb5Dcg+TwD53z5bJx22pdQJ7w0S/As14a6Wr0Ejhc2zl9wJz5eukylaa9yTEhYQZklff3Si3Wvwu0LvqN3t5iOqqugf2tAsMov3deF7Jx5r8ytt3wLM6ZNacHHNWvW48tfPlf4FcJhhx2Ma665Go888ij+9Of/Q8QelCh0XHnF5Zh7xOG44IJLUFlZrYO0kyHNUgd5AeMll1yIH//4Sbz00qsaJof00rJi/OpXv8Ttt9+B10RACYV4PYHlmWkRNnYarEPsKA2vO1KXOgoO1ka8JN950SFXEG+7fQHeevd9mkrqLS4yf6w+9MNBa9r0aTLrvRFvvfW2CjYcVLgS1RaY5hYCyt9bCiiMpS3fbjsvt6YumfaaifrUHtpLb3eDeTL57Gzf1B4MqzIYpCecvEuHj6ZkO+LfxONWvUDeGoE3Lf62G4llZax9AaULaCWgtEiqVZAd6QRMQdCdME9UM5e1s6efLsqzKxz3Ckq96AcPKMevf/0/eOKJn+BnP/+FXopmEG0UAUgGn1tu/Rauufp6fLT4Yxk87DgEsaaYzBwnyIB8G15++RV873vfT0n0GrMMwsOHD8FPf/oT3PfAw/jLX/7apUG4KwKK8kZUHTBsf4avnLHS/22SL34iycZjwrbA97y5klaZfcjMJNYcxxVXXCkNLIRHHv0Brr3mRnzw4aIUu7mUHIkEceMNNyh/7rvvIb1okK/zvMDZ2Nwjj8BXZVB+SISlN2RQyspue7WloyBvM7mCYtUti2fcQGyQhH3+hNhx5nzzzTfozPfaa6+TjiFPBAcr3/QaCQfwzO9/iz//+a944sdPIc4VVJtvvPH4iMMPx+WXXyozX0uQdpYDn/n6kHtZuNnw5Vf+gfnzF+gsmehKzliX2FFSJVgPpMNJ5TNd7OQSV9VqRWj/DoaPGIUrrrpW2p8IHY54mFOTW7b7o46aqzf93nDDjfho4SK9tqIt9IkVFB8+Ogj2TWkLKO3A2ZaI/iKgOPuLvgfDVSF2+NrpG73Dzk204+JFUgZDS5UhQylhEe0lLFVt4geMcTFNBILyP6gDTigRRHV1JZ599lmcccapmDxpom7Y43Ih9xOMHDUMF150PpYuXYb1G9aKQBXXcwEmjBun39cHssJYs34dXn3lVRx77DF6sypvZeWg3tTUoK+Nrr3uOmzctEVmxi/p6oszj91J+r6f/BGKi97ik20maeAV7QsW3IVTTz0DJ598KubNs+ikk07B8cefiD/+8f90NejcL5+PL5x4Ctau34CPl67E//7qGSy44w6MHztaBLSoDrK8Bv+C8y/E6NFj8fTTv9JlU4qMA0pLhFdjdTnXpItLviOGDZfZ9Tx8+NFHeO2f/0Iku/Vn312lFnUoTV47/afqlpDKKjYvK6ur8MKLL6qgx9c73ANcX9ckfIkiLzcfV115jXRKIRFO/0/4HpNBNIiRI4brjbfZOdl46+03cc4550oZnC50BuadtJPOO+8CqYsNWk7HHT8P9z/4EPIKC1J12pnWjhLz5OZLOnwKSYc7eOBAlJeV6Sbq+vo6EUTqRA5JSHs4HLNm7YVf/+Y3aGi0hBMKvvz0lrE2CI/q6qPSZuIYNWoMzjrrTN3AuGH9JhWOGT6/8Bk9ZrS1WueItxWcdkK76j/a06uZzROjanuyn7uD2kuvT+2Tk3fp8JF+O+rfuHOrXpSxekN4mQtJDEr9DUy+E630u/NXPC0gQfKV0EUXXoAtW7fixRdeEj0FS+s6/KHDhuL0UymkTFJpl2Zr163Dn/74Ryxa/LEMMkx/AJOnTJbB+HwZWP+J3/7uGd00FpPZ8wgZdObNm6fnEZhP+9atX4+/Pvd3vPnWW8gKW68euoKurKB0BO7KQJD3fLVBgYvvkf/857/oDF43LQoPk4mYbuQ784tnYPy48eq+Wuyf+/tzuk+CeqaTs81zz/2ybk77wQ8f0S+naB6T2frY0WNkMP4Cnnv+eRFSFlsCTAaQ6RWUjiIei6K4uBgnnHCCbpbOFcGDea2oqMDLL7+K56Wu6Rqf/PHAqGuuvhrrRbB9/PEndE+GOLZDYr3fWfd5ns6lX/0a/vDsn7Bs2XKr/L0KrRPI5AoK/XBPwCRpM6edegoGDxlEU80P3+e//eab+Mv//RWNIsjyiy9KbzxYi4II21lWtvXFCuNfvmI5nnnmWaxdux5h6SOYT3bsfG04cuRwPPLI47qB0aSbe6K4KZIbSl9/7XV8uHBxyi4T8FdQfGQS/gpKCi06Gjc3Wun74x6UdMCwCWG6qk7Qjh0QiZ0dqYU7eTTf+7eyEzj9046VUh7Szgfj6oqAYnjYFV6aPNCjVw6YVwoyVJlPplHNhYxrhmHsnaAZfwzXzcN0wHgyuQels2BMfN1FvjBfWkdk5u3kH9PDT0VpYnjWHkxdyxSYLnaUpkw6Wpd2BeZL64M8m7y1le6UW7ts+MqRX16YknLWiLbqkEEqjE7UI5NGA7eeMHWJ4TNsqrvrHpT+jt7gnYnTrXqBdcYIvGn1d+1GYlkZ6/4ioGSuZ+sOMKk2Wd24sNfoHXaZJHc8bjuufvAMEF0FcbuTyZNx4xWG0785mr678tERMnF3JQ08Z8FKf9u8Yh7dV+g749LjnYUfRm+IfmX4UtVtly45w+yO8Nsj5p15NuWvPHTxj2nil0pOnrVHHXXXUWL8br5kgk8MQ+uDkMm7lztSyq3wSXll1xHyz11XGY5XHTJk5aZz6XfH4darmR2mUfUQM/u5O8grDbsLMW9BB2U6r73BOxOnW/WijNUbwstcSGJQ6m/o2wKK4aqWn/VL6R12/Zl6Mx8m7p5MQ2+XW4s65Hj2ySJ3OzNmTn1Pk7Oe9kT9ccfhFafhiVF3tQeFZ9zwdZ0568YQ/Zif09xNbaWB+8WceufPHVdXiWG12uNjk4nLy25X5PQrs/CWqwcOd+lST9QZN5k43aoXdZV/rYjwMheSGJT6G9zrosyOE/5lgd2MTOSDDZszTsMjnnqoRz3vAibunuRlb5YbZ9uckZvW6nyN4MMCeaR1yR4sWI/0dN9eZJOznvZE/XHH4RUnV234mse0OX21S1456hNtcrOzsc+cvbF96zZdE+Q5Nrxkjs+jR43S5xNP+Dy2bdmqel6mx+sBeBDbgLIy3WzPjfncOM4L6ngAGq8M4GbjRCyOU08+RS+q27xxEyZOmKDEMHgx35RJk1A+YICWJ8PipX4Mixf78bK8KZMmo6qqCtxrZ/LhBE3YoXNF7+jPfQ4rV6zQS/QYH+Pm+SjlZQMwbsxY7Dl9uh4Cx7N5rAv28iQ/o9XvyBEjUFNVrXvLeBlfTlaOHvpWsX07Tj/tNAwsL9dXDmyPPFCNX6bxq7ThQ4ft5EE0KjwZI/GH9Syc1ApcB+BVft0NE6db9QJ5ryuBjvqUaTBUZ8g84sG/LDBdGK4KOaVt1Tvs+jP1Zj5M3D2Zht4utxZ1yPHsk0XudmbMnPqeJmc97Yn6447DK07DE6N6rqAIKLDwE3N+Jk4aJAP4XjNn6uV03JTPS+fWrVunF/Bt3LgRw4YNQ0lJsR5HwC+VKisrcfDBB+lZSXweOnSoHhTZ1NCEQw89BB9++IHuheFBeLzIj8fFDxChhAPAjh2VIqCU65dRHPS5iZd7+PjpOzdtyyCC0WPGSBrbWGmxQXd6AJwIHTwcjhcQ8iJDfm3FODno8ARfXrLHU7j5QcAEEZR48vaUKZOxbdtWHHTQQZou7mfKz7eOwydveK/ZRx99qF9zMd8Mg+EyfTERUjRPdXU49tjjlFc8noAnrnamTvZEnXGTidOtelHG2hfhZS4kMSj1NzD5TrTSf2a+4unH4MJVd3zFs7uBEnxvfMXTn8C6xBmOtRhq1SUOFH6bawmzqdGAr1PavSwwnhAhRjTSRnmiKj+/Bq87EEP6Jb/jMh/l3UNB6fh4WGEixDYcQVDMk4FmCYUL3mHxI+HxFtOY2CYjiIabxI0IEWJEv0FxE2MdlzBDEg4nyYyTSAYTCDeHkQxzd2MTspPZiAf5lRzTLf0v3Wvv2xKah1hcBTHO9plPHqLHTd9MO31wEGY9YR7Yd6u95I39kmlzJHUvpCyQdNFeN4aLXld+RdX6Z5Jhh2uFbcW/u4F9E+uT6cMzDYbqDLm/bJLt2694DFeF2ED44zIgwcbgtO8wEV5mhNu8B6jL+XAQOw12mFJRVC/lY3WUDjdeZOLORBo6Sj0Zl5tYPXv6Lp7+SOwstSnLM+tR2nfxpEnOekp9d9cfdx31qrOmzbFP0nYn3ar7Lh4l2gvxLKBAuBDhgXshnjNAuvhNMiiHES6eJIN1GM3BQhQOm466aBSR8ikI5g9HE/JQOGAqZGRAVt5ARIJF0v9tknAKECzbD5GSoahN1CFr4N4I5w5FNJ6NvGEzEc0egERTBSIylgSKxkp4MySOXKBAzAdMF6lGhIZIObIG7IewSBLNkQjCpdMRlMlfMFEl+bXbiE0UHmbOnKGXD/KV0bLly8U4oK9ruDLCFZoNGzZq38xVH7YrHnU/buxYvTCQk6fDDjsUlZVVei8O+cQ7drSfEgGmKcoj50OqVwFGhTTrhmGOVqyL5LFRnWnrCHmVX3eTidOterqVn38Xjzf6toCi/1vCCCiEsafKmYKI43rbK6cSTAjf82qYNvG9Js9lYIfB2UBCGkqEkqt0NGGe40FpXlqE04+TUmihYQVrZdQppOOXkAqyU0ARsKGTvKC75EU1xLTzwfLZM3DGlS7vOgNWT/LJQOqt/eTDgHUoJaAI2qtLXUVXytzpPhP1ZVdpcNu59c66pO1OAkwJKClIT0MBYfyxwsMI4jUbkCwZKcJECbBtJeK5RcgeNAO86Tc8/HBkF+yB2rpPEMkbg3hjDYL1IsTkj0MkpwxNEnZT4TBkN2wR4eQQ1ET42mgm6otGIBANIVcEmEThSImnBEkJLzdH4sgpR3DQXqhrrkUibzJKhs7Gjk3vIm/EicgqKcbGbZtQOmo26reuQqB4D5k+VyBcX8XMWamXPPGpqLAA99x1J+bfcQeqq6pw8YUXYc/pU/WyR756OvLIw0VwKcPXvnqxfqV1+de/jn+//Ta2b9+Om2++EePGjZO21oz9DpiD+voaTNpjD+y99xyccvIpGD1qJK675mq9SJD7Vu6/914sXbIER82di+OOPQZjx4zGv995p91TgzsCU37p9Df0S3TUv3HnVr3A+sR2Z/rwLqMd77Qy1v1FQHFnp5W+P7ziYaJ5GNrMvWZhrEjtfFfLd6Y8VpzvRMkYyQOOOeZo/OIXT+tJsGw03JD1/PPP63vPKVOmoLSsFG+/9bba8V3rRx99pMeGcyDj64C9Zs3Ccy++gJrqauvTxj4CVu6OvuLhxVfDhg5VftTW1ZLj6o88NaS3hMqP+c7jZWUyq+PGN947w/flPDKcS7sK8ctYrbmOPqTfyLoJrAcdecVDfrJuVEs5cxMhZ5C6XM2f5E+XreVHd+QRec+ZIMPiFfIbNmywQ7LqrJMfyieySowszvUtME/sQKgSrEfMI/PhBPPKusG9CLz4j/sE6MfUJYL+dGCxecABXQdxOyhTZ8gH9WPzhGHnyqych7bx+nuTlr4E5oV8MmCaucfDWZ/ikuws6YfigQJxEEcYjYiH84UX0n5EaIhL/55VMg1NiTVI1FUiEiwXdw3S/gYiJn6DyXUIBwYjzhWGgnwRIEKI165BdiKEaM4ABBMywWqsQKwwX8LLlVFlI0KBcRLPDsSb6mTWLhM2kaEiwaEyIatBjEJNYghqkhsQSeYgK1SIptgm7WdjwQFiVq1DU1LHHS0OJRZTTm42Bg0arH0n98CwL6iqrJYyjuugQwGEb16Ki7lXplrvNWOZFopww7JvaorqHhZucOXrBW4E5vk2nDSyjtCuQvpqDlw1NdU488wztQ/mfWlZ0r7sKrPbgn0T61N39Z2psrThesXDwUJJyiz1ikfaXVM8HjeqedVjXv/4r3i0rGzSwUF+ZgUlKWZOe+EOimRWUCWV+8MPPsR4ETJGjx6DtWvX6sYyDhrFxSVYtXo1GqM8UjwiDSMLmzZuQnFBMSoqdqBZzOukAfGKbg46PN30wAMP1IbCkz3j0rnSv86cHHG709IZSsevoc684hkuvDjkkIMxePBgNImwN2f2LBx80IEoKy3Ro9Wn77mnnnDa0NiA4kKZHR1+BFYuXyazqEIccvAh2pHsu8/eqvJ69JkzZkhFX48D9t9fd/Dz64PNMqikTkB1xe/Obyby31Fi9WzzFY+AlZcd5xDhzWwRRmfP2ks64R16qunMGXti6uQpaBahZvKkyRgodWTN2jUq8BwoeW+sb9Ar4o879ljwULH999sPI4YPQ2FBofK3WQYZfo0wefJUPZqdAg2FH5adM419gdhZalOWZ9Yj9yseKjy2nps958yerTfvDhJB5cgjDle7SXtM1IHnlJNPxsoVyyXv/AJjtM6cVy5fjimTJ6FU2urhhx2GUSNH6QrCntOnYZ85c/Qrl7EyYZg9azaGDBuKouIiSAdntXu7PmWivrRX7zpSR1u94pG/FvVJKBEIoSlShJyyIUCBUP5IBHMGISDCRaBgKEL5w4TZEamT5QjnjkAwtxTBPNrnI5gtQkfuMCRyCsVfKRIRGegjeQjmD0VS/AZzShAQ94lCCSN7oDyXiP+RohaIPxF0xE2gYBgCecNFXyRhDBQ/QxAT+1DeUCBvIOK5xRLfCITzB0ufmyXCI79EahRhnH2HlSfmndQs/Oe1DXUN9fIc036WNxs3x5ulP21EVASUqAiz1dJ/8pmjDP1xctMoxJN966W/4QncjdIWeCMx7aLCM+prZLJkuWlQ9T8ffIC33v63pCv9ay6c5ed87izRL9WO+DfxuFVPt/Lr7Vc8orpXSJTkOWbMHWZU+9cKiqiUT8KSyF7dJEs7vsaRBy1s6o1K8DmuNY0aOw6+EhI/6oazDlFTeoFRiaTWsr4FprWjKyglMkhSeubyK1eNuFueMz8OtAsXLcKYsWN1Rz7t+fpr8uTJ+Pjjj9WeqwqbN2/WLw3YOdMv3XLVihWOzxxMOMuSGm3H2HfABsJ8sDxJ7hUUCig051cOXB3YvGWLCLpjdebI+4OYR66q8Ip6Xg3/7rvvaoPj3UvkC91MnTYNy5ct03fvnGmOkoF5uQzKHIRpRgF3owhwtCPfTZn1FbAu7WoFhSmmIDdixAg156ra/vsfoFcffLRwoU4OeOEmv9rgCgiJX5FQ0KfQT57PFsGYAlpuXj7Wi/+9995b9WvWrMEMCr0bN+rAxvZO9zzGnuXXV8D6v6sVFKlN2qexZgWEeI4uf4T2dQ6eWrXP4jmRkH6I5A2WQHv1huGasNt3ax2OJvZJTnCkz9MJNccdHz0J1u1eWEG5Rx51BUXaO1dBdEVESDfIksRMN8ialRSa2faeKygkaQdcOek7R91LRx+UyPUVj2Rks+2302gloFjGCuegos9i5k5sbyGdtGQiH50RUJwwcfckL91x9WTc7ATIJ4J1yP8irDVYh9hRGmGgo3WpM+hsmRv3pqQyUV/aS4PbzsutqUusP+RZd9en9tLro304eZcOH03JdsS/iceteoF1xgi8pg/vEtqNxLIy1raAcrc8tnjFI5QSToxQQjMjqNCc7sTcCDMqoFCVfMSkr4hnUkDZKbJ3EcLYVIB8D51RMGSb+G5a39kbvcOutymdtPRmPkzcPZkGd1w9nf8Wdcjx7JNF7nZmzJz6dKmzZe6sp5mqL+2F47bzcmt4YlT9XNZ+7g7KVL4/i+TkXTp8pN+O+jfu3KoXZazeEF7mQhKDkhMiUOjrGTfRSoSTJJ+pinBCc4ZEAYrmKRJBRVXaESK4p54zAXeaW+mdKyg04CqKCCJBs4Ii0lBQ9LpJtqmpia96umcFhSbyx9mcWSb1YYEVPByx9qDwxyV53TfgowW4sZkzFb8utQGbFeSRWUHx65I3uGqppxLb4Cw40ytNTrBo3J2zj47Bybt0+Gh6io74N/G4VS+wDzJ9U1poPxK1Mtb2CsoCeWy1gmJUGU+4ckLVnH2SIrOCIs9KXD0hCVIrKCIzJIqKiuIbN27UvShdWUFxZ6eVngIKH9yvecrLy4NOAUUipj6cUQGlRVJ9+PDhw4cPH52FUzghbAHlNgoVoo2JwJESUiiAUHW+4uGzEU5sd3ymYKLCCfeeiJtYdnZ2SkBpbGyM5+XlJSig5OfnJ5zCifhHJl7xJKdOneopJkhCVCris3nNw+UeqhmD4apPny0ivMx98qmnifAyN0R4mfvkU08T4WUuxIHZPThTsJAxW4UTPhsSYYNf7cRCoZA+CyXEjZIIJaqKnTHjFzqqOsmOIm0w+U649YRm8bDDDlM7rqJUVVUFhw8fzhUVXUFpaGjQTbKiSlpDW+muK/BXUHz48OHDh4/MQgdx61Fhr6BcL4IIPxk2r3lSr3vslRKunOhqicMspacQI+N+6usdvt7hOSjcKJudnZ3gKx6vFZRXX33VLS+19dxKIHHrCTVzf80zatSoQGVlpb7m4Vc8/JpHEqaCikhQYVI0GlVVvEckc2GhiGSK3+bx5a0+08zobaI7+lFV3PBlOA+A04NWhBEhMefKT0C0ATFX3htViFDVNvPhw4cPHz52O8hYaAb0FqptLkOgflamZ5SImZI8c4WEz9xcllo5kfFUBRQxVyFFzJzCiqq0o1vqKZTwmaqM/yqg8NWO/YpHBRQRSBLr169PFhcX87m9vScGLczcA7jXgK5mbQkoIpRQb1ZSUptlBWEBhYmw6CMOQUWFFT47iWa2uaoiudFMBRNRg7ZKvSgqoAT5IKoSzUU10GeXmQ8fPnz48LFbQYZBFUYsXQu9DIEqoFDRr3PETg9ZEz2FE76+iduCiQobVI2g4iTbrsUzBZPs7GwVTPjc2NiY4B4U7j3hCgpXT0pKShJr1qzpyOZYgxZm7gHca0BXM6/Nsu6vebiSEolEQpLAEFWRpHQ1RRiiKykizKhgYsz4LGQEElUNSYZVIDGqMEW8BSmoUKFAoqsoojpXUoiO5MmHDx8+fPjYHdBiwJfxMqUXqGBCiDmfde+IgIKJqmJG4UQFFVFTwor9rAJJKBRKPZPMqx0ZtwndHEsBhSsoXDnhCgr3qPaEgEK0+TWPey8KhRSuoOTk5KiwQmFDBBNVhQEqpIiqepJkzgglaiaZVoFEVLpTgYR6WzVCCc1VMLH1qjJ9fBZm8rEFbDc+fPjw4cNHv4WMg14Du5rLeMpH59kk+kxJRFQqKqjI2Jl63SNmuilWzPRIe6riLyWkiH1MxvLUMyUSCii2GucKCgUTGf+5gpLae8ID2sS+hXDCBNkCimceBC3MdzVop+xvvfXWwOLFi1W/q1c9FFL4qkfMJK8qlPDVT5B7UvjuhxDmhCVjZoVFV0rkmSfRpvaaUC9MoSBiVk5UMOEzVUmKpsc8S7BtCiJtmfvw4cOHDx/9BTJetjW4p17vyDjaYiVFhk5dSZFxtYWgQpKxUYUUGT/NKx8VVKgn5FkFFD6LqmaEjOt8laN7TmR8V8GkrVc7TAQFFH4VfPvttzvT32ZeiF0N2k57fW7vXBQKKc6VFAooFFQk0bxMMCQCiaoUWGy9EUrUXFQKKpRDVBUjCipUyVHnKx0joBCqGr3D3I22zH348OHDh4/+gjYHdQolDsGEUL2MrapSIKEq46mq1MtwSi2FEyO8pF7/hMNh3V9iBBPR83RZFUxkjFeBxL1yIs8qmFBAGThwYMK1ckK0SJ+temJXg7bTXp+dAgpV50oKVdGnBBUKKZJQVSmkUGChIEJBRfKYeqYqTEgJJLSjKkxRwYRCh23POFVIIQmzvAQSt17RjuDiw4cPHz589AtQsLAf3WhhbtxRlTGVz05BxQgnuroi47CebeJUaW4Ek6ysLK6YJCigRKNRvbXYKZiIedKsnKxYsYL3Cqlwwvi7U0AxcLrT5/b2pIhAohtnJZMqqEj+AkZQoZBihBUx53OAqrilQELBJGBUCiVUjUBiSJihcVOAoWrgCyE+fPjw4eOzDqdwQlXGWwoiSapGQKHePFMgoUoBhIIIhRTaizlf6xiBhIezthJMxExpF3tOCC9hxMsshY4O6K3cmT0pzpUUqm0JKiJZUa/PFE7y8/NVlcxQENFnChiS0ZRQIm75WkcFD5IwhdeZazxGT5V6wtj58OHDhw8fnzVQqLAfU8IJIWOyCiR8ptrY2Kj2fCYZgUTGaBVS+GwEEhIFkZqammR7ggnDNsIJn3tVQBGomdcrH6puQUUEEKXS0lLdTMtVFQorhYWFqlJPAcNebdFnI3DQjCqFEZqJPbUKt1Di1vvw4cOHDx+7OyhU2I8KL72MvSnBRYSSlIBCYcToqRqBhKrRV1ZWqtoTgolBZwdzL/dqtitBZcKECfrsFFYomHBlhe74TNUpuDjNCSOodFQIMe59+PDhw4eP3RUUIuxHTxhhxemOwgZVCiJGb4QR6t0CSba9+dXsMeEz3XWHYGLQ1QHcy5+auQUVwimsUPUSWGhOmGeutDj1Bl4Ciw8fPnz48OGjJbwEEgMKHVR37NihqtETXgIJzd1CCdEdgolBugO8l381M4KKQUcEFgNjbkAhxn5sBbcA48OHDx8+fHzW4RQ42gKFEKpG8CA6KpAYdIdgYpCpwd0rnBZm7QksbrgFGB8+fPjw4cNHZuEUTAinIGLQjkBi4CWEeJl1GpkWANoLr4XdrbfeCnMyrRfaE2B8+PDhw4cPH+nDLYA4YZ/8autSaE/4yIhgYtDdQkBHwvd0QwGmo2hP0PHhw4cPHz4+S6BgYT/uEh4CiEFHwsioQOJGbw3s3RGvL6T48OHDh4/POrpTaOhWgcSNvj6o+0KHDx8+fPjw0T3oUYHDhw8fPnz48OHDhw8fPnz48OHDR2YB/D9GMmBW9PFndQAAAABJRU5ErkJggg==">
            <a:extLst>
              <a:ext uri="{FF2B5EF4-FFF2-40B4-BE49-F238E27FC236}">
                <a16:creationId xmlns:a16="http://schemas.microsoft.com/office/drawing/2014/main" id="{94EF8714-392D-4121-8B3F-BA3C645F8B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8A491200-9F4F-408D-8F8E-75B28F9AE38D}"/>
              </a:ext>
            </a:extLst>
          </p:cNvPr>
          <p:cNvPicPr>
            <a:picLocks noChangeAspect="1"/>
          </p:cNvPicPr>
          <p:nvPr/>
        </p:nvPicPr>
        <p:blipFill>
          <a:blip r:embed="rId3"/>
          <a:stretch>
            <a:fillRect/>
          </a:stretch>
        </p:blipFill>
        <p:spPr>
          <a:xfrm>
            <a:off x="4532197" y="1387917"/>
            <a:ext cx="7313912" cy="4198502"/>
          </a:xfrm>
          <a:prstGeom prst="rect">
            <a:avLst/>
          </a:prstGeom>
        </p:spPr>
      </p:pic>
      <p:sp>
        <p:nvSpPr>
          <p:cNvPr id="4" name="Rectangle: Rounded Corners 3">
            <a:extLst>
              <a:ext uri="{FF2B5EF4-FFF2-40B4-BE49-F238E27FC236}">
                <a16:creationId xmlns:a16="http://schemas.microsoft.com/office/drawing/2014/main" id="{28E3FFB4-A76F-42D4-9C3B-A0B736F0A564}"/>
              </a:ext>
            </a:extLst>
          </p:cNvPr>
          <p:cNvSpPr/>
          <p:nvPr/>
        </p:nvSpPr>
        <p:spPr bwMode="auto">
          <a:xfrm>
            <a:off x="7342414" y="2171700"/>
            <a:ext cx="1507672" cy="2530929"/>
          </a:xfrm>
          <a:prstGeom prst="roundRect">
            <a:avLst/>
          </a:prstGeom>
          <a:noFill/>
          <a:ln w="508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518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a:t>Private Preview</a:t>
            </a:r>
          </a:p>
        </p:txBody>
      </p:sp>
      <p:sp>
        <p:nvSpPr>
          <p:cNvPr id="2" name="Title 1"/>
          <p:cNvSpPr>
            <a:spLocks noGrp="1"/>
          </p:cNvSpPr>
          <p:nvPr>
            <p:ph type="title"/>
          </p:nvPr>
        </p:nvSpPr>
        <p:spPr>
          <a:xfrm>
            <a:off x="4296" y="104528"/>
            <a:ext cx="4207648" cy="1040254"/>
          </a:xfrm>
        </p:spPr>
        <p:txBody>
          <a:bodyPr/>
          <a:lstStyle/>
          <a:p>
            <a:r>
              <a:rPr lang="en-US"/>
              <a:t>.NET extensibility in ASA on IoT Edge</a:t>
            </a:r>
          </a:p>
        </p:txBody>
      </p:sp>
      <p:sp>
        <p:nvSpPr>
          <p:cNvPr id="3" name="Text Placeholder 2"/>
          <p:cNvSpPr>
            <a:spLocks noGrp="1"/>
          </p:cNvSpPr>
          <p:nvPr>
            <p:ph type="body" sz="quarter" idx="10"/>
          </p:nvPr>
        </p:nvSpPr>
        <p:spPr>
          <a:xfrm>
            <a:off x="142770" y="1488252"/>
            <a:ext cx="4207647" cy="4770537"/>
          </a:xfrm>
        </p:spPr>
        <p:txBody>
          <a:bodyPr vert="horz" wrap="square" lIns="146304" tIns="91440" rIns="146304" bIns="91440" rtlCol="0" anchor="t">
            <a:spAutoFit/>
          </a:bodyPr>
          <a:lstStyle/>
          <a:p>
            <a:pPr fontAlgn="base"/>
            <a:r>
              <a:rPr lang="en-US" dirty="0"/>
              <a:t>Extend existing query language with </a:t>
            </a:r>
            <a:r>
              <a:rPr lang="en-US" b="1" dirty="0"/>
              <a:t>C#</a:t>
            </a:r>
            <a:r>
              <a:rPr lang="en-US" dirty="0"/>
              <a:t> </a:t>
            </a:r>
            <a:r>
              <a:rPr lang="en-US" b="1" dirty="0"/>
              <a:t>UDF (User defined functions)</a:t>
            </a:r>
            <a:r>
              <a:rPr lang="en-US" dirty="0"/>
              <a:t> to enable new possibilities:</a:t>
            </a:r>
          </a:p>
          <a:p>
            <a:pPr marL="285750" indent="-285750" fontAlgn="base">
              <a:buFont typeface="Arial" panose="020B0604020202020204" pitchFamily="34" charset="0"/>
              <a:buChar char="•"/>
            </a:pPr>
            <a:r>
              <a:rPr lang="en-US" dirty="0">
                <a:cs typeface="Segoe UI"/>
              </a:rPr>
              <a:t>Complex math functions</a:t>
            </a:r>
            <a:endParaRPr lang="en-US" dirty="0"/>
          </a:p>
          <a:p>
            <a:pPr marL="285750" indent="-285750" fontAlgn="base">
              <a:buFont typeface="Arial" panose="020B0604020202020204" pitchFamily="34" charset="0"/>
              <a:buChar char="•"/>
            </a:pPr>
            <a:r>
              <a:rPr lang="en-US" b="1" dirty="0"/>
              <a:t>Machine learning on Edge w/ ML.NET</a:t>
            </a:r>
          </a:p>
          <a:p>
            <a:pPr marL="285750" indent="-285750" fontAlgn="base">
              <a:buFont typeface="Arial" panose="020B0604020202020204" pitchFamily="34" charset="0"/>
              <a:buChar char="•"/>
            </a:pPr>
            <a:r>
              <a:rPr lang="en-US" dirty="0"/>
              <a:t>String/Date manipulations</a:t>
            </a:r>
          </a:p>
          <a:p>
            <a:pPr marL="285750" indent="-285750" fontAlgn="base">
              <a:buFont typeface="Arial" panose="020B0604020202020204" pitchFamily="34" charset="0"/>
              <a:buChar char="•"/>
            </a:pPr>
            <a:r>
              <a:rPr lang="en-US" dirty="0"/>
              <a:t>Data imputation</a:t>
            </a:r>
          </a:p>
          <a:p>
            <a:pPr marL="285750" indent="-285750" fontAlgn="base">
              <a:buFont typeface="Arial" panose="020B0604020202020204" pitchFamily="34" charset="0"/>
              <a:buChar char="•"/>
            </a:pPr>
            <a:endParaRPr lang="en-US" dirty="0"/>
          </a:p>
          <a:p>
            <a:pPr fontAlgn="base"/>
            <a:r>
              <a:rPr lang="en-US" dirty="0"/>
              <a:t>Custom De-serializers can support any data formats </a:t>
            </a:r>
            <a:r>
              <a:rPr lang="en-US" dirty="0">
                <a:cs typeface="Segoe UI"/>
              </a:rPr>
              <a:t>including:</a:t>
            </a:r>
          </a:p>
          <a:p>
            <a:pPr marL="285750" indent="-285750" fontAlgn="base">
              <a:buFont typeface="Arial" panose="020B0604020202020204" pitchFamily="34" charset="0"/>
              <a:buChar char="•"/>
            </a:pPr>
            <a:r>
              <a:rPr lang="en-US" dirty="0"/>
              <a:t>Protobuf</a:t>
            </a:r>
          </a:p>
          <a:p>
            <a:pPr marL="285750" indent="-285750" fontAlgn="base">
              <a:buFont typeface="Arial" panose="020B0604020202020204" pitchFamily="34" charset="0"/>
              <a:buChar char="•"/>
            </a:pPr>
            <a:r>
              <a:rPr lang="en-US" dirty="0"/>
              <a:t>Parquet</a:t>
            </a:r>
          </a:p>
          <a:p>
            <a:pPr marL="285750" indent="-285750" fontAlgn="base">
              <a:buFont typeface="Arial" panose="020B0604020202020204" pitchFamily="34" charset="0"/>
              <a:buChar char="•"/>
            </a:pPr>
            <a:r>
              <a:rPr lang="en-US" dirty="0"/>
              <a:t>XML</a:t>
            </a:r>
            <a:r>
              <a:rPr lang="en-US" dirty="0">
                <a:cs typeface="Segoe UI"/>
              </a:rPr>
              <a:t> </a:t>
            </a:r>
            <a:r>
              <a:rPr lang="en-US" dirty="0" err="1">
                <a:cs typeface="Segoe UI"/>
              </a:rPr>
              <a:t>etc</a:t>
            </a:r>
            <a:r>
              <a:rPr lang="en-US" dirty="0">
                <a:cs typeface="Segoe UI"/>
              </a:rPr>
              <a:t>,</a:t>
            </a:r>
          </a:p>
          <a:p>
            <a:pPr lvl="0"/>
            <a:endParaRPr lang="en-US" sz="1200" dirty="0">
              <a:latin typeface="Segoe UI Semibold" panose="020B0702040204020203" pitchFamily="34" charset="0"/>
            </a:endParaRPr>
          </a:p>
        </p:txBody>
      </p:sp>
      <p:sp>
        <p:nvSpPr>
          <p:cNvPr id="4" name="Text Placeholder 3"/>
          <p:cNvSpPr>
            <a:spLocks noGrp="1"/>
          </p:cNvSpPr>
          <p:nvPr>
            <p:ph type="body" sz="quarter" idx="11"/>
          </p:nvPr>
        </p:nvSpPr>
        <p:spPr>
          <a:xfrm>
            <a:off x="768108" y="6069507"/>
            <a:ext cx="3342329" cy="378565"/>
          </a:xfrm>
        </p:spPr>
        <p:txBody>
          <a:bodyPr/>
          <a:lstStyle/>
          <a:p>
            <a:endParaRPr lang="en-US">
              <a:cs typeface="Segoe UI"/>
            </a:endParaRPr>
          </a:p>
        </p:txBody>
      </p:sp>
      <p:sp>
        <p:nvSpPr>
          <p:cNvPr id="6" name="AutoShape 2" descr="data:image/png;base64,%20iVBORw0KGgoAAAANSUhEUgAAAigAAAFzCAYAAAFjq8K6AAAAAXNSR0IArs4c6QAAAARnQU1BAACxjwv8YQUAAAAJcEhZcwAADsMAAA7DAcdvqGQAAP+lSURBVHhe7H0FYBzH9f53KJYsNsnMdswcU+wY43Ac5oax4bRpmn/6KzfYtKGmbZIGGoaGOQ6jA7YTMzPIFuvw/753t9LqdHe6O4Fl577T0+7OzswOvHnzhpFEY1iCVwPGs+Wmm24K3h7YuPnmm3nxB0lhThTL1KlTbXK1l5aW2jIzM60ejyc00Q4o2O12f0VFha9z586e6upq7/vvv+8VY39dpCVB7AsXLnQHHxV+vx8WS8CKcW82a0+IFK6DDjpIr6tWrUK/fv3wzTff6DPtn3jU4fhx7YZ+DoejvLa2trx///41Tz31lNeqNgIcY+cNLRtkwHxv/rB4Frxrv1i/fj18Ph+E87Fr1y707dsX06ZNg9VqxQkzJzA+A7xeb5cMwZIlS1hS6mJoFU5JFxYq1yd7ql7CgckTjU+aer8vES5snpqKKyTRlgn9mJ6evvXTTz+tVU5ZsGCBxe12N4rLGSedguuvvgIiY4ImQIrNjr69eiG/QwdMGDcOudk5SHU4kWJ3oFOnTrjgnHOCNtsnfD4/PG43evfooRwknJIrxhlpaWlaUgij+KCBUJUk3VO6BzWuvUhJcYolqz7T3OXxYMWq1dglz598+hlK9+4Vey7Uyoe2bN6C+/7xQCBL2iFZhKxSOOySgavWrJV7jb5dEsYmCVTHGHWJQkjCNJAfJSU9YbPZtPwFYEFuTg4uOO8cpIg8+dc/7kNVVRUWHHskfv2rX8AvuTBgwICg3f0XDRJFqqgGgjRVuGTw4MHw+jxBc79yxr33P6Cccfa550PKIZ565gX85rd/gMVqwY8//hhwvB+jQaJkZWXVcUoHkRlXXnsDZsw6DFbhlhzhEFp2SsLZJfJZGRnIy8vVxOrfpw8Lq7qTwon01FTYHXaVOS4pWpRuLo8LXr8PNTXVaq+tMWrECHQRmde5uBjz5sxGpmRmJChbiKC1rVu3LkNu9/J58JARvLQYLJLQ3u6HBu7JdRvf13szamtrgnf1MJVkhV8S1YzQ9z6qXnXwS2bWcz1hAWvceljlcdmP3/9e5Ml3UkoWyXXjV199VdMgUcRwL3M+IydfHbUbGJFvGMcWQXnpjkaJ0qD4UKDWyxS+ai4R4cxbi4hw5mZqGg04ReSJckp6Vp7WKvsbqGFLtRp8igxWDgbK9zTBKfVc0vII9TrQ6uK/EMHQgkg0NrHxUwtgzKjRwTsLnIP6BdOC/yzoMHM8bL6GQrAlkGhyN0iUOiVNk9iP/KNmBu5NpDkchSK+ZxDlautYBNcPywOcE6Q9b30Kr82L9DHDovrvsfmRNWwg8uZORcH86Sg57Ui4WYWEsXv4YXNxztmnmsxs4f0OgwaJImUqeBeAL4KjRECv/EUF8G7bFjAIg6ovv1V7qX16BAyC8EiCZR8yHnYJUPl3P2D3a+9j58vvYMMjL8Dhb1AP18EiP1+wCqbuZRVtO1Y0SBRpQjdKmHjBSL05qh+spjCkde0EtwTKsn1n0CQ6alau1WtKaqY2HexeG8re/VTNYsWLr7yCf/37Ib2nrPRZY49Xg0Rp2M6px5mnnabXkl9drFczXr2VOl9DeKWh5TVxWZHVKVpuSvApMvr07AlXVa0mqN8j7ai+JRjQT7TlKDj9lFOCdy2HBilQ12nEXDZyWgriUUfM1WemOFuaL4/qG2InQD4W2qCZxbgXkupe1H2pKuX+6KOOrDM307jRo7Fy9Ro401KE7cW9aKPfSlFZtmKVfvOow+fDKeFzSAv37rv+JgVDdCoxf/iRRxv5NVpUeibsmaed3sCc9s3PSmHQIFFC63j1xASjXRSqLhOvvvQ8ut98KbxhOM2M5557IVBExSs/2Vpa5uzf+OyLL4M2GoNfff7Fl+Cu9WBQuhPnXHgRru7ZRWRe4yKRkpKK75f8AIdcH3viSX02k9PZNMdGjYFfUuXua6RcSzK8MqZxl0D3Gy6uT2wV7cAbd2Q0kCcG0kzFh0VUpBcOz8vG7w4ajFtGDUaGXWqHet8aIU2CyvB8u7cSTpsVf1q9Qb5jxR8H9Q7aCIBtKINcpvs6M1dt0GZkhE8Uxs8kE8wIxr2hnTB2n3/28To7XikKldWV+nhL/0AkbJIwL+3eixt/XIbrv1+OShHyLJ6HdSqUFrVbappAppBPphc4UE2uCPpnEMNy/Q+rGpvLz8vWYfDe+LGVHmo3HKLzeozwuD3Bu3qw28+ATe6toieQ3a9eHoxEBLy8dYfKDo+qH2JREuqdXU2r7mYwcVlpGPcGhatEwiGuRKHHBp576r/BOwveHD9E8iE6nE6H2Iz9c7f9IouSWwi45JjsoGl4PPT/hgXv6sEinGq3C5tKhogsrKl0Bd80jfChDHBtWFxxktHT31jINYLhj5BLuUlY2mQWjqaPkCCJrLjy9+XKJWSWvz1TJtwGZGX6ceVJ6ThlThpy04QbfLQLnHHTtw38IFGlqxYhTis+eiJIqPZpCqx9Zo8OdRLB51CINa2mw9RcFnk59+A0vb7zNRO7cYJT7ykvt+C2x6rw6KvVKK0SGRGm9jHAUDIRpOLW51SptWJFlESxCtsJ+4lfGY5UEYwOubXClmKHzSL3UpvYbXap+kRjsDiRmpaKdMlZhz1Nou3XoRADHgmdT94JI0vOeXHW4XZ4aqoxZawFHuFqn5i/+lG1vA9EoCUQY1aFhYYitDuS/SmVVZXIy8sTDrZi965dNEbnzp1FNjixdm1ADSe69+iuHLR+3fqgiZh1744NGzfA563PyWHDhiFV3H72xRf6TL+KCwux6Fth/SA4xFnSpTNeee11faa/h0ydinffexcWNvwEkyZPwo4dO7BMai2CmTFq+Ah89Mkndf0pXTp2woxZh+Ir0X2W/PCD2jOjqf6U8ImSzU6mxn2mBHMgWn429b414XDYonYyGWFrkChNdUc2hFG2W58YmXDmZkoT9T+cuZli6XWLBcqTgwcPtu7du5eS6Bd8dqSk6QcuvuACrF65EmOlXbJm1SocOmMGcrKyUVRYgG3CwsTZZ5yJcWPHIC83F0uXLMVll1yiitlh8+biq68XqZ0JY8dimbDxReJffl4+RkhRGjSgP6UWduzcqTrF4fPmYcWyZTjrzDORLd/o3LEjOhUXi4yyY29ZmRYNh/h73jk/Qyd5V1tTizlzZmPxkiX6jVhBTjFPDHDVVH0gxXSb6DBb5Vq2ZcuWwFBpOJnSln20sfStkuVbKkxx9dFGAlMuLTU1UB7lGg4pKSm4+sor9P74447RazgU5nXQKwekGkEEK7ns2qt+ro9HHnmEXg3Iax221TDIQ5dOnSVcafquV48e6CLCu6dceU+Q03r37InOnTqhW0mJCvpYEDVR0iSiNlal0qq96693SIvWi3/8497g2wCKCgqQmZ4qilUabrntdjWbM7dxhFXtFn/uu/8+jdAVV1wWfGOCfGv6tMnYsnW7Pp50/LF6NUBdbldpKSqkZpRcxcbNm1AdHHFctXo1Nm7ciI2bNmHVmjVqtmnLFqwU881yXb9hg04EiAXhi4/WPg1Ztba2VrnBuIaC1WfXriUok/JfVra3QZPAjJrqGqSIjkP7RlvEXHxYjbNKZ+S8opFapUVMpKWlobq6eUOuLVD7NISREM4wCUIwETZt2oiy8rKICUJQr4jWOGMiUMfhEKmRIAYypNhkSYS6iKClbnLiggWqN1FzHTJwkPbCjR01CpMnTgy6SAxRE8Un7ZXaKskdkxIWCqY+WdlApOQgZ0SDR7iiKVR7HfAVzMHO1PF4Z90uPPbeGtRkjdJvUhl0OOzIysrEDz80b+aDxoHFZ9OmTekSsDI+hys+BgwWbEnEUvu0VvEp2739/4Rzv5fi843Ef1OdRitoMOeNVfJPBWWl26+Ryw+SKEupq3DOm5EolvHjx6dKShV4vd6ewupdxEKWmFO5a2nGaC8g43iES/ZIfNdL7biuVLBy5UpXXaKMGjWKzVoWoVxJkGyxmCIWD9QEUYgs9AkT1Iiw3iviolQ0+2rOozVHWhNGyrZTyrjd5XJZxYElOzt6r9f+CqoOkul+kVVeYQK31K7uRjOug+CzRQSvZfv27Qc0lxgoKiryC3cY1Wf0KjKJJBogbPH5qSxrIaIubaECxwn7nI4tQscmtdABLVNEL9FEkArII5WLR5Q2ClmVLUbErVJfe6mKm9stkZ5JVO3N79oDWFPm5ubqag2Cs7/ZuPziiy/Qo0cPLFy4UM2Jkf174etlqzF8+PAe4m7vjh07qpYuXUq12q9tH9FmG7SBGHmCkRYO0ntzAhltnfaWKKxmiYqKCr0yfFu2bNF74rDDDkNBQQEGDRqEW66/SM3ETq/y8vL8Dh06pEhcNR0YK9VPpM4OdDZYRIm1JbaOh0lpTqbQ51iRqLtQGP5E8o+jiDXVZWeInrJEFLg1IjbKRFfxaMrs3bu3UWt59+7d+Msff4vbb/ljXUNs5LChGNi3H3oJS3YQVu3dvQdSpTHXo6SbmPXAL665Rj/UXmAkhDlBjjnqKJ0Lc8qJJ+qzMEO2JEqKyBWrcJha5T9Lnz59nHl5eYExDeEUi82pa3zOPfMMHH3skZh3+DE6V/9AAznBVVvxcylCX0kFs0wyf48IXHcDDjn66KP1umfPHr0efuRhqKmpH//hJP9TTz4Rhfl5qCwvx9zZs4QOxa1/+RMy5N3ggQOjd9C0TzQqWWE5BVaHJswr/3tWBdXPzrv4QOaUK4RTvozIKVx0aCCnQ44Wm5+dX58g7toasN3M8RdOyyIcNpsuiCK6l5Robx2XvhCG+fChQ1HjqtFO5kbZ0oowxBuv+VJVc/yKK0pq2IFm6i0MRSNOycjMkjo9+ozEeOHtOl0XSBG29W9KIBsXMk69MiOoFdShqWUtfl9gebABq433DbOgwVw9ixdWqw0//vBdI05pkCgzZszAu+8tRGoG+5cOfLCm3FO6PXrxefvtt4N3BF81l4hw5q1FRDhzMzWNBpxC9rPZnfBb7A1YMVFkZGSgsrJS/ZLcCJq2HjjcocvzosDcac0kapJTWivg9Lexz5ofQWodJOpzbPzUTDBwBt/5glPUOa8pYOqH32FvlaRJlNcbJIrHGJCSEJbcKA0mLmZmaGMk7dw0PzNYJnNLLS+BtRVmuxb5rle4qZZv5DnUH4P8Xj+KT56LwtlTUXjUTBTMmRyIQIi9o444AseKIvrK/57H9ddcBZ8U3z49ezeyFwkNEsXOKZYmxLHwoUk4pZnlTw1XjAKQt0iRapLz++2c0mhGSobmusVuwbbHX8WON97HjhfexM7XPwgsv/GbqlrBCy/+D889+wLmHnEUVq5aqQkwbsLY4Num0eDrP/vZz4J3iYPK0Utj6ue1+iWS/rQMuDiFOgaGtlr88EhuWEUJtGZlBHp9agOztSPht7/5dfAuAM7U5lIWunn6uRfYWYRHH3888DIGNEiUf/7zn8G7epxz9ll67XLWcXo1g+x8/uEN56twFqTVyk6sACwSwE6ZjZe/hMMZp56kugP1riqXBzdc+nNN5Ijw+eGt9eBXLdx92iBR6vYpMIXj6KMO12fNKbkWSgvawfV+5rDynnaCpOA9Xcl16/btATve8JOLudCJ7h76z+PB2Wuc95qK//vd79QPi7w/9eRTpElhx+BBg3HU4UcEuigkA2xOKfImv0jjRo9BXk4HnHX6GY3eNaAIaJAoofsUqMATmFnXAi+8YTpNnn/mKZT8X2AGUkQEp31efuml6ieXtvz6V7/UKjtKGNXeI489jNNLCvH1t9/g/ZdehE2Ec6iEskqbjMtXvvnue1RW1+DR/z6hz07T0pZYECLRGuKl2wLTqF47eCgadWO7vUjpXb/WL9A08eOVOxuPKHbs2DF4F8Adf/sbshw23HlQX5Q++hCu6N1FIt5QWJrBPOBSwX+u2aL7tJTKt9xSKfhEMNdxpoDdpA2WsYRcSbEgfKLUJUBIStQ9BkISmFbOm8BFPZN7i6TQP+75m9gSe/K8m8VHrl7O4JbIkS/KPF78/PvluGvtJty+epOYSc3jseHynp10Hr7PJhwp1CNDIi7vLJwexu+YiAsg2MscWoX75PvGUhYucWFoaWa2oxQBUTklFvCDfle9YDVAOWHAJQG6ZXB/2KyiBzWs9RvA6vDizrVbdFmLVeQW1yqvrbJJcY3MRURo/FiMWCR5tQUTk/exIqFE8UguZ2dm6r1XapoHuaYwCrpmpOHqJYFp47EgQ+SFwyK57bOjIKNW+CTyhB4vFw+EQIuUhPGRBwO16c033qDXWBE+UeozuQFGD7RKzRDs6Q/DfqHOjNpnY0U1rj9LZA0tRKGMDLfKjyqpZdyiwFksHuysSJEq2iHFwIEz5qTj5ydnYcxgB6rJnWLX5pcGoMkPEi/9B/TDr399MzoWd8RNN/2mkR2lCIiLU3p0cohSFDnXonwHf/xXGf5+fZfgUz2YtiWFIk/E38oK8T9g3Ag2ixsPvVqFOx4txxeL3UjTqeuRsXzFKqxZtx5bt24NyKM4EDFRuMTVlmJFakqK8IYTaRJctlt8HmFXj1sXdovOqRqoz2ZBSqoTTin7Dmm++ykDpJaoQ7C9cPEfN8ElevncSUB1bTl+fkq6JKQNG3bI14QTWhLRMqgpMKMadEdabQ6R5nZ06doFGekZWLYsIAu6deumfaw7tgfm5BNGVcvcMKOoqAj5+fm68Rz7U4ipU6cit0MHPP/CC/rctVMn5Imd7xYv1mf2ufTp2werVq7SZ2LixIno1Kkjnnnm2aAJcMT8+So0n3/xRX1mb2FBXi6eeOpp7U/xeD04dPp0fP/tdxgwcCDefb/hrj6x9KeETxQrO5nCCI0mwNwxu0oXrTTSEploCPUnVjhFuzV3Mhn+mP1rkCjyoslOpoYgy0cmRjiceUMiwpnXE9tG4cwToaZ63WIFJZBFuIRTMH5FA12BZbHihOOORf++/dAhO0faGwPRQ4oPG2fHHXsMvl+8ROv/zh07YfDAAZg2dQqyMrIwfdpU9OnVCz279xCZUavDrS5Rt39x3bUY0L8/vv3mW5x3zrk63DBi+AhtvXJpC3HJhRciOysTXTt30dVgQ6SN45VG4Y5d9ZtGTJ8yDR1yspXtzzrzLHz2xeeBFxFgcIeZ68zLWmheU1P5unDKZjHf5fF4arZs2aK9EWFlSlN9tGTDppaaGH200UD5YMxiaAvE3UcbDmPHjMLZZ5+p92eccbpeQ6HaqySiT2qk4449GhMnjA++aYiTTghM6zDnnBlXXhZoKEZKpLzcPBX4XHvI5SvFItCJki5d0Cu4hKUgL0/dM1N7du+udku6dtV33Gk0FkRNlKL8Qpxz1hlYsyqwkHJ7mA1h+FGu8Hrh+SfwuLRkn37mOXz8SeO9TugXB8T469+Xq8IaY8PGjdJG8WvxCoddu3fpos4tEg4uXzFqvXUb1geWtmzaVFccJffVDu3SXy5vMeatNIXwxUdrn0Dx4VqfnA65KN1TKuU5B+Xlgd1ZzcWHViUMASmv/9S4URFLlaZ7TUhLlYE3vtWtpBvWrlsriWesJm4ejKCYgtSw+MiLhIoPA8j1O1yxZSRIKJggdYgSm9AECcV6yfFoDTfOgeGyFc4tGTbkIEydJFqgIDMtXbeAHTtqNPr36Y0xo0apeaKIGILD5syBXxpVXNYSyMfGYI9YUzC4oCWE6bqKHLy9zIWHnnoSK6tG4LP1BdqPM3v2LBwntWVVVQVOOulkfPHVV2rfyJ8o+RQWtB+1+ERCuNqHLswBCGcnFObiYyDUn5ZEaPHZu2cH1+19Lc2W5aJm1Gu0gwYNcohk1t1WmCip6T+RAXahsr07OYTxvWTOakmwvZzzpoki7RLb7t27s0SB6Sq5xj7GArFElbW1MmyfQ+LH8lwl8eWa5LVCW7p3715pXsVhHT9+fIpYyBatLleu6eIoSh/Z/g+JJxuQLrfbXSnFpnTv3r3lXOsjr+pafVy5YV20aBGnjjpTU1NtnC14oC5rITjnVkqGj7Ot5dG1dOlSXrU2MBcPcwL9JJa2BJe1UK4blEQkJMINBzwH/YQQc+mIlOk0byBaOENbmgZJJjnAUFhYWNfSmDZtmu/mm282mKcBE4VmvFbMTz/9dHBCUxJtDTZ42PAxgyuWuCWpAfYKxdoJ0hSGDRtWJAqYV1qmHmno8JQjD5lH9HoyUF2dbB4iUibhermdO3feyAATY8eORc+ePTFixAicfvrp+PjjjzUyvXr1IjfqBgWcE3bMMcdoZM444wysWLFC1cXrr79exzguuOAC3QaMOzTMnDlTxzq4Con2Wqqn+UCCwSizZ8/Wk5q4BkDUbYwcOVIXShjzYpmGXH/EtCXzsN+X2jb3comEB/71L1xx2ARcevEFePm9j+nuWfGLByY409LSbBzMk+/7e/fu7Q8ypzKCwbq8cnUYGcch6m6jnmY/Z0kmAn4mVG4lERksoCEShX3L7Eo1kJGWjsrqkO6YRNJZ3Awa2J9z9/YKo+yWAr9LGsV7hNEqOnXqVJ2VleUJLmJv2BakNOHaQpEGujhROEzXP+mCC1vDYV5KFbanOC+GOyVG6iRvDp805bY5fieCtv5ec2CElYMr1117Lf58yy11/Xj8z55l9q/V1pRzqG+nMAh3c+OgxA72swlVBbd+IKPoMBihjMJOAxFj3G5Jt6qqg2ntKUUdReM1V1yO4cMO0oEDHmJ33Amnwef3quiTj6jdNId4JV/weNw6UlNQUKjikYMSHDccNGgghDl1pyfWuWS2mppa9OnTB8uXL0dqaoqK2NpaV31ITWjrjGvr7zUHsYSVjOKqrfid3HK+xBbJ103CMDtEnSiVPGSt4v4quHw9an3S4OAv8bSyohI8dYwjWRVyz/kT7AEWZUit0Ly8rDwQSqGCwuABQcK9s2fNwleLFkGqNT1bq6KqCl989bWeyFYmflHHKd1bppuwcUtQnru1t7wCCxYcH/Aj6KeZdHCpDamtv9cciimsAmEO8pNFpIleaRaudojKKKGTjA2GIBx2m85uomR46623GsyCNLBh4yZUyfvqqmr87e57dF98DodOmzJFmYqjjpxMyE0xn3jyKQ0lzYyxIT4//J//GHFKYh8iKqOIGAreBcAqxViFO3z4cGnBHIqDD54o98O0OmId2GDZsphxtNXucIAH06mSJvT2u+8qF/AdwQPoaK4MQTtBGM9JRokdXO3MbT6ZsiSmJolmXCVtp24iz/HCyJWYdZR4QMaiQuzlKLQwUYpIIVYn3PjUKsxBfYUMxurLI006SpKSkhKskSY1weeC3DxdQ09mskoznM03NskJNhP5DUo1oiAnD34rD+e0S3NyD4oLi+H21GDzVqmCVRY3D/Shno33PULDw2dKZO5GzkZGgElUduuIjRZmkfz8UQhQR3G7Kn8vebNDaIuYUUfZLjpjqaRpAx0lJkbRQeWfyKrthGHkWotxU6Ryr+wQuG0SkfwIVO3BWQUxMUpUKRTQc5LYN9BWaRiKlUmIcO5J8SN2iZKepSI+kcnXrQNfcBZq87alba/g8QEsqC5X80dTAnO/G4NSIlaJEpFRqB9w069XXnlFt4GoZxQ/zjn7bKSkOvDc08+hqGMxTjz+BHz2+edYv2EjRowYjq2bNyAvrxCFxcW4V1o7hx91JN54/XWccuop+PiTT0RHSdETMmrcLjzz7LO61iMRGNOVuS/7lCmTMHTYcFHYrNi4fhN69+2Nr7/6SpvkZ5x5ujTbK7Bk8SL06dMPdhv7d7waL07WeeChB4M+th9wLniAUQJDHD+/7FI4pcD++dZb8Mc//gGPP/q4btSfkZmhzdn8okKdsLti5So96eSWW24RfbB+7mo4tAij0JCBpeLYUKLEI/paFwajcDFSjd8Duyhxefl5KN21O2ijHha/VVpZLth79kbGsP4oX7IMjrR0dBozFMvvfRROqyjdNndL6LwtglBGaQ5aglGi6ijkzFDwWDurV1KzHTEMj+tzaEcg0Ldnr4ChgM8sCiXHHykB98Hnt8O1eh1Kn3sDnuXrUP3tD1j9wBPaSuLyPDJJ2qhBcBTmwCZVbHthGgOMD1fiMw8K8vP1etDgwYEXfC+1wOCB4af0NxdR/fzyS9OhkQyMEBeJd/l/FyP3mFkaUMM8EtX19yVAdBvNPZt5jcyDZnaPH16RGNTsNzz1QkAFDLUbhqq/Xgr3zr26UwHXdg+48HQxlhfyF0tceEBvLTsjp4wJHGEWxk49yT+hVK8VPS88GU4v+5rC2QuS/Js0+WDe4Mgj5uMXv7waixcvxr/+cV/gvXz3r3fx+BNJmVC34SgORGQU9ldceOGFEWfQMwOiy6N9BEmAnMnj4RJl0FpTFXeCmMGTP36892FJdL+UVmGXTgUomjkZNp1TGoDu31HYAXmHTFQetftsSJG0q/ngC60So4Ps60eN3Yc19z4Gl51SPgokHIu++UbS3Yd3F36A//znURy/YAHOPvd8HHvssejWpQv++/iTtBiw34KIGBN2ZN1zzz0R15XUaTdhUHLmApTcEOawnhB4RK94+ZYcXDgvch8NP8PkfG30ALwyLvwxmLTD8LCqsEhG7f3gU4lYYs3AUFCc2yXLHU4HbFtLsfWVd+A2pQlXcfl37MHudz8OBCQB+IWxeLZxU2DcN2zapPerV6/Gerl/4pmn9fmZZ57Buo0b8Y9/PRg1bxJFVJZvsElVgPkDZECfLXj5xWfx/FOP1b3Xk2qliuI9b6nO6MxuuZqJWwpZLR74RIkMfUei27prEOaDqLVKkCv954J4NRZxP2LESNwprQNVoxKgG3/5S5WYvOc8HI/fC5e00LjFiNXuCBSe4HvaoxJ91513Bg65DZpHI3dNLf70xz9p/DWprDZcdMklYe0mSkbaRaU4EJVRPJ7obfhYGbdY6k4eisuR54YI7wMZoNv/uwwl/0epFDWIYbHo669x+ZVXq+9cNj1vzhw9pS9SeGnOAct8HsYp9//3u9/HLI9ozyNS59LLLq8rWCrd5Ko8TRIDNwuOgOaOlBRcd911ooTHnl90RyKMe+O5LRB/LpjgkeYmwczgPha3jRyAWw7qqWbR4ZfEpBvJvJCUevV/L+DZp54MJDArEE2NONnfBG5n9cprr8EtTK++yD+73YncDjnIyM6Ez8vCIKyZ4sTO0t3N+JIBbosEDEwRP8WzgMTwwxHcii8QBgvO6FIUTLfIC6jYPDbIUHyNe8aLFO698Vx33wKInVH4PYMEPJb6NdEvAifUE9I0S3NiUGqKbukVCKymiQlMNbm4feh5wyVI69ldGCFogZcGdvnox+t3ZuCVv+YEqgKBT24CVRt9C/onZJGM4AJY9SJoRuLwmFsCcVrXzjiuuBi1Un14vG6U7tmLyrIKHWikfzaJT8BbC0qcTpzXuxNc/ILJL/N9Y/LhsM7FcHuFKeRxqas+bI1I4vDQ5u3iH7/mkSLmw5V9S5BNpjXZY/w0joI+vXrijNNOwyknnYDjjjkK1RUVOPmE43HCguMwfuwYXHjeuRg+ZDB69+yBSy66EJ2KCuvdm/xsQHEgYYnSGgpTKEI/wS3Rnn/ycfzj73cGTerht4r+IAlvJOwVPTuCx8GRER2SMf/ZtBlPb9+mI9h1DNvoA2QGPzaIPnL/6i1wakbWg1uqUcrZuZedMBsVXYs0bQOw4uUt26SKCz7GgmAYvFIl37ZyA8rMOqEJjNMKUV4f/M/DeOTx/+KpZ59DWmYGHn3iCfz3qafwyeef457778ciaSqvXLMGd919NzZzu7gWRLOqnmgI14NLI6+UOCMzA+DmoV68JtXWQ0O6N3jTHNy+ZitSW8qzIMgT3H7KI03vcq8DlbWUVpK5vni4o3lgupK4Zx/5zGPSI81M3dJoNUYJB/bNvPjs48jJatwcplj3RdklsinkZftQmOeQaqWJvogEMFjUroO614pEq08uDk+lp9lE3xE9zepRacedKP98eQHs/sibuzE7GUTuQnfYwU5cuMAOr+ovsXE1q/TLLr1YpKcNI4cOwf+eeyrQuhPwGIeaytZZ/hI7ozAwBgkMnSEaFhySgtduTReJETSIExE/wYSVl1oxBMO0e68VO3a5YdcJVl7c+8vOmnnG+9hJ1EtpAZ08RaQE9y8VsyWrge/Xcggssn+skpzOVFx7x07ROiQMYewEiKdhM4ROvPyhC/c8SR2F36mPS1SSOv+vd94t934UFhXBZrdqFdije3dND1rhP+pbDdyFoziQsERRxa4JxGKnKYSrwqJD7AsjXfA7btnqwwmznPDW1Oi9GQyaXzLLK1x8yXGpKMz3aY8nk8Rjd+Cx9ynSE5dwrQbhAKOX4fU338ERR50gQbZi7dp1uuVjWnpiI/FNwcjKmOejsPrQo9dV0WMmBrk4CHpI6tmnN9asXBWSPQ1Be7179dJeRtoLZF5kGFzdI+jGvCsa36Wn+TFk4AR8+nX9XlhGeAywXcTlIKtWrpCn6F9k7zTjGw3sfIs0zGHAYPZoTdVQH/ar0eMGCKY4xz84L5X3gbZ8/buAmUpHXQrJa+h7M/HdyjXCJKbn0PdmM9ojrRY3+p6ZbHpXIc2cTxcJkwTN1E7wnUFs1axYtSL4zP6chu/N5JamtPmZ+8mYn0keqd5CzUKJ6UUK984gc5jDEbcCpQJLYg8xn71kUJMdc1qFpmVYigOG9aYlSjucM0tGadiATRws9c3qnKLQoHPjuh+AemaLTFwyYDCKMXGJopaHpVGieoS7uQSAvvEdxz246Tr3eGMpsgVTTc2CGUFRyK3MNHPEL57NpffynlZ4bzxrVWdj8zOQAxz6N5Z5GP4QhnKtu0h55Gu0x34J8Z/2g6+1qmDYzOHhld3vnKTFWez8NgPCKjaUEY0UY6m2i/BW6WoCVx0wnQxQy/FxhDn4LQMMj5b6VkIgtQKIWPWIpZavekxgYhs1N9frsFOLCUFzJqQmilRRvBriOjShiIA9upeIBUVzgH0pqnn2kfgrGUhzmqk/Yh4OATuBxLHYbbAG6/jAGQOB8JHIBGpP7sOB/jNOjAurVsNfUt1WZgIbmTuEScJBC1CYaqc1maQ1EDujaBFoSKqAhTE3U0zNtAjUlFvJ+rDm8VKs/sQSF8MvXT9DSWJ6x2fu0p+fl4+c7BxJQBrWv+/apate6Qft8r57t+569XtFN+FOnXJPSktNU7/NYaeffNZlv0GzqBQHEpIoZnBP9/vv/qtURXaJHPDXO25Tc3dtrZALf/z9b/S5KbCA3X7rX5Cf3wGvvfKCRvjmmwJnQfBdVWVF3cKvWMDWQk1NNc48/bSgCVArVcJbr78UfGoanMH30ovP6vcpla78+eVqzu2R//voQ3ofCVmZmbjwgvMwfvw4/L+bbsQNv7gOkydNwqEzpkvml+CC885Tf9VvASXMhAljdSynY1ERJk4Yh3lz5+D4Bcdi6pTJuOCC82GndKRdqR6nidmll1yETsXFOP/cn6kb3V2CElPetzSMcMbcPNb6OwT33fM3HTbfXVaFBUfPx7PPvISOnYuxYfMWTJ44Bp98appSKTDrFgacwXGOvLxc3HXXnTjh+FNx3IJj8Oijj8LudCJTdKTKqoa7DEXbNDwjIx1le/ege/de2Lhpo+pRNqkC/vfSC5g1Z37QVgCsZtgUNjOikYl33P4nXHLFtcInVjzzxOM46pjjVJ8ho5x4yhlq14xwcdvXiKijCLWqMhsPaNv4iIFYE9P4Uqh7Ay2VKdRXDGU2GsLFJRShymxLgEpnXU6ZEBoe87P5PiKjiKVWVWaTiBGi/frAo9y88FgyJGOkBedzS8tNkl1aTbXSmrN4qE8wWwOZmyG6h1YdopOkOVlmqRAHBgH3JRJmFLuUQomikLQQpII1msHxoKRzF8yZOVN7SmcfOhOFouQde9RRKC4oDNpougQrpAk9Y9ohOGzOXG1Oz5w+A1npGZgxfXrQQuwYPWIE8nJE0RR/OGWR273zQMNx48YFbcQGztdxWZ1wW1JQY0mFzcOplKnw+DP1kCK/PwVOl02ZxQDjWil6FatCthqrXYG92CjxGs8ObJw28eeA+k3+lAaeXiPC8FurntCtuQwYOor2hLYAVKtvAb9ayh96wcxoqTAFbxIDg0C3xjVRmN1HiBZZb0/pdh74ulOqnm1S/W4RXY07Lu1xOByVcvU00lFIxmZ/Quki/jpI4nHLpALh8DwpqVLMwMrOKeZWktwnsR9CmIL1GEc9a+WeLYQ9wiQ7JU93Sj6XSouxXHTV6qKiInfoZn9EnUIrFpziIF0oQ6QL++4zxJM04TaaSwOCslHRHJ5PYt9A5YsIAp/kqUuoVvK4Sq4Vwizlcq2SV9TG6xRZ2g/NaGWW1atXW0X02MWBQziOEsZRU1Mj/tht9F/MkgyyH0OYwS9lXUmYxCv56ZYrJYwIE5e7S5cu3tANicNluGFGprGQaaSpZBEPLFJnJRnkAIMIBL/T6fRzt+pop0jEkvFJ5vjpoAFzJJFE3IhXWiSly4GDuKRHtIw33un1pptu0ockDhzcfPPNwbsGTBOWgcIxisEYlqVLl9ad17Njx45kv8kBhrS0NH9mZqYyRlPHoYUyCp/rWjuiCVv37Nljraqqsubm5ta1eqQlFeouif0IdrtdGYEtnoqKCp8wi08Egc/U8jGaxnUwZ7gyydSpU60LFy6MfeJHEi0K7vzNDZijwe9vPLUyHhjuOX7l9XoLXC6XV77LfhSPMI63V69evlBmMS9c0c62bdu2Wbds2aIHOxmBCQ2Y8ZyVlaWHCIULdCQ3SUQHzxvg0TdEtDQ8+eSTdUpDQUEBiouL9dAtn8+Hc845R+3xnhOZQsHVEWXrluGI40+U+9W0d19KSopVvmkRpuEcH39lZaVxqFMdzDlnpTSRq10kSvX8+fN1W0qO7PLULx6/wuNTeIJX165ddV3NN998g+OOOw6vvvqqRpAne9HeJ598go0bN+Koo47Cs88+i9GjR+t25O+9917dehV2BLbUcWcHEgyJwtO9JAOxaNEiNWfm5+Tk1M1iM8DjbXjKGsF0NvbdYzqHzq9hunPm4Tf/uR2jzr4WEyZMYEEfI8xSnZ6eXlFdXV0l36iWasg1ePBgr1mqGIyi0oSjx1J/Ob7//nvNQXOAiHDczcgYR5MZZmaYzcz3ZLCnnw5sK5VEPWKtevr3768SffPmzXoEH/PgoIMOUrdkFh6hU15eroWRQ3OUFpQSf73zTgy27sZl9z+HVKeD7uaKf2XCWHslb/ZKga6UQlwj+cpDnTjW05hRxGO7SIQUYZQGM9xojTPSk2h9MPOZwVEhjCIlLviQOEaNGo2aqoqTRaKUCrPwmLjdcl8mVCWM4woOCpJR/HWMwkPm5UpGkaovrcGOvn57qnIUXSTZpR7xpEdbph2/RUT9nljq2b07li9bfKEwCacYcEOVHVKjlAqTVIpkqg0epU7vTPs4CEQMWUSZUf85zzLSXEuKPk5qppgjUazR7KeG/aHQTJ00SfUY6iuhakEQ6WLOzfIdcrVLC8hmdH+wm4RXoo5RpC5TQ8l0vXLScriJy1RCd+3aiZtuuB5PPPoQ/vvIQ7j+2iuVYczMUlNVjX69e2Nw/wHIEEX38HnzkCla+oA+feGSQJ9/zs/Qs2uJTnvsUdINXTp2lPsijBg6VE8W4zRET60LF51/ftDHJBLBHm5BJoX6lBNPlLQdhmFDhmDo4CHBt8IAVqtOIyGTCKyim7D1o7MFAjYCiKu3lbMqA/WnTQ+GJDIzM5Cnp37ZsKe0XgljK4gHUS5fsQIDBw7E++8vFInl0r3quR35U089jU2iiJHpDpk2VZS4XGRnZSqzVUvEqCR37FiMBx+Mvn4miej4dvH3ksa78OQzz+Drb7+R58X4bsni4FutHYRXrFbRS6xy34A5zGjEKOIgvGVhEkoNnRPq9+Hxx9/UzOTaGi5MoiOKNp9XWlQULHL/5deL4JZqidcy0b55//Gnn+kyz93C6S559vj8+PfD/9EDJ7lP2TfffS/v7TqtaufuUlSxT4H+7ecU08q9FiJ+q6nvGZkseVbHA2SUSPkfUaKIg4h6hzRy8errD+taGDKH2RZP/Ca4Ku7Siy9SOy6pRugXz7QT5q1bcEW3JIJLFow+FgPdS0p04VYSrQqdsch8ioaIucA2+RCpz8LDj1deelUznzqL1GdBc+XQ4B3Qu3cvHH/cMUhPy8Qw8a+j6CHc7vK0U07GiccfJ/cLcJ7oKuefe7bqQ9RL+vfuq24HDxqItevWR2TWJNoWdRJo1KhRdinRdtGOMzhlP2iu0Oax5BerHsLt8eL6qy/T7mN29LDT5/5/PiJvfHDYHXrYECUST+vm1ubibV2Gz5p5KHaVluLjjz5Rc5VI8orbSPCG7mENLHqgC+OaRMuC6cp931auWMrhmq0i5bnJ/lYhLt0ok5qhZsSIEXVH7scl16mTEH6/F8JYGDt2LEaOHImePblbNf2DMgnB6oUZzNNFNaMpaYTeeOttfPXV10gRZZjbSwS2mbBqtaMngQW3kjCYI8kk7QMRGYUSgP0jZnAQihBFGTk52boQ3G7nFprsq7NG7HdJom1AbdHG8ih5ZxDzkasWqesZlIjWF9HNrFmzdFAvFByLyEhPxbwjjsP4gw/BvMOPxVXX/QrZOZk68Gdg0IAB6Cw6SZa0irTLVwKY6nDqB7mTkTMlYHfY8GF6Fh63b0gR6eMUyUJ0L+mqhz3zjECux+V77qNKUCfiOz4bp7sP6N8P1bU16DegP7KEiWvdtUpdO3fW962B9ibteEp9SkqqSvvx48drQc/PzcXMWTNV6g8dOlRrAB5oHi8Ccl6uTeoovAoZDpoCtWgquhzxpKLqdbl15yFmOjPaKlKoRvSb3A652LN3D9KEyQYOHITvpY3PDjm2irhQe/bs2Vi4cKEu1KZ/7GFkKWGznEf128Qf+leUV6gntlPXoVu+8/o84saFiqrWOck0nvSIx26iYLooqPeJjkg9kVulcR0z33GLMIZE01Zu2YUfq44SE6MMPGiEbpHQXiFqM6xdxsNnFekSkht2VzV8Wz8OPkUHE9MVXBgeCUZeREJgtWZ0NOUH9fpIsFh9wgfRKw9uGRAVFq/okDYUFhbgww/ebTlGScsOnGOTRFuBqR0pxZtmxACiMZP4IcyaITrn1i3rm9fq4TS5MWPGBJ+SaFtQ5DB/wlGsCOfWoPgRkVG++OILpSSSICIyChWhxqD19kIGwr3b38modsK9i4daDrHrKCINq6oCk37bB3zB/dKiK5/7J/xIT09rkfS22QLTVUPBjE9vCR2lS5cuwTszzPVcQ5LGV1jzUOKe0eHM4ycDHLyM7mesYWs/ZDSLwr2Ll1oGRjvK0rlzZ6tIEs5LcAp3XXviiSdqid2wYQMcKWnKgezDcNXU4KQTj0fXjp3hcdVg+PARcEpTi0sGOKGX+6hW7N2LObNnY8TwYfjm229x/bXX4OOPPkJKaqoKxF9ef6249WgHXWlw/CgRsNvf7fXgmCOOQMeOnVCQm4dDpx+CKVOmoE+PnujevbvuNbvg2KPRuVNndO/WCYMHDsLA/gPQv18fTD54Er748ksdbmhv0LhJehPjx47F/DlzcdTRR+oGxSVdu2pcL77wQj3B5NDpMzBkyGCsXL4chxwyFf369tUBVaoPjFu4kWHmJ79RUbH3XbmtsFgsnGjESfWcrVYr8HTq1Mm3dOlS5do4q572tX9qoOpp2JnGcwXZQxkJ7BDg2cm0wT0bA3V5ZPv7ChwOiZreEkcdUA0+GuBwqnkvOsnL1q16yG2k9g4eq+KzWuD2+7RS06NJwsBn9aLW60XPs49F2tihSO3TDVnzpsB5UL8WVvvaCGGYhGiRzQ/DIGIaaTVjmmfSXkHpYPX5dXolBawvZCCTUeSgWK8Tj0KKlK61/3wG1Z9/i9qV61Dxygdwfb8MlVY7ik+YC+P8niQaIyKjUFxxYNAM7g1PjuUxJu0WpozmLrjO7p3gcnux9rH/BU3rYcQizefBtidehaXWj44nz9cDCyLL2n0HrvKz+W3w1AYGR9NT0uHk/B0Bo82B1Kj9/81AxOQoKirCm2++GXwSSEi8Vh9yZkxE11/z8AAxYOjaEwk4TZN/brsfuQsOhX/NFthTRNaY7UUgS4oV2x97SQfPOi04TAzr34UjHQCJQGwlVErTtOTEecg7cgYKZk9B3typKDh8OoqPn4MeJx+BtIG94fVQignLhvFDqxHjXiRlenoGLDY/iooL4BdeKa+uhDMtRQquVENiZ93GTTj7Z2fpfbSwkeIt6hEZha2dSOC39JzG9ggJHAcws6Qq2f30W3DzVOs4YXNYsfXJl+HKzECVZE7dGdgxgNVcz1OPhNuRgmxhgg1PvILdL76NHW8sxO7X3sfOl97Btqdew9rHX0T1j2sgtR5chVnIGthfwho5+3gGEadgUGBImwM2KQjDhgzA7ENnwO0JtI7eeeNlfPbp53rf0miHAraZkDojY+wQVD36ujw0j5udlZVIr6pE79OO1dUFKq0igH05HedLVe2yYs0jL8DqqY2BwTgSbEHqjgqU/7AMTm8To74CaZHolRXMYnGz6LvvhHECc3umz5yHzZs31NlpSUSMyiGHHMKVYsGnhmAw2utxC7UOGyo/WyrN5JZLrDUPPaN6Wadj5sKbWt8SJNv4a1zodPw8PVF960tvwJeS+HcDHYOR4XK74BMJuYdrq+Tjl150EVb8uBxuX6DRccF554h+FTh5raURMbupo0T6IE3bsurpm56CF0cPYGFtBGZLVqeOyCgpQUav7kgVMRw4v7jlwPhahAG3PvuKcKILdmEKW3ZmYJaeVAdbnnwFzmZO2GHnmM8dUFIjgaemsp+EE9p5vevuu2FzOuo61O79xwPYU9HEAvcEEZFRnnjiCTz55JPBp8aIKFEkvbreeAk6HHJw0CAyrjjehpdvzY7aQUaIgJbMkaogTP4zGGVbtqJSdKryNevl+83LsFBwZl6K1QGHEI9rs3h88Fg88JZVwCVMY+Ek1WaCvayUWFbRPdorIjJKUzAKLUvC2Wec1qA0OLzMrKYzjFq9lXv3++rn2sYLfoW1zOFz52GmVJfsiGouPB4Pfn3DL5Bilwa2aJturxteIR6F4hMF1e9x4fxzzsUF5/4MVZWJ91b75TvXXHkldu/eo8pqe0ZERuEk6gaQzDBX+9oxJc9klMPnSx3tkww3vVfwWcglTMR5sMZzHYmkqEPoOzOZ8z7ce8H/XnkFb7/zjna4nX3aqcjOyg5vtwkq6dwZTpsNv/3tH1DrFvVVJAbLBIlNTrvTLmZO3PePf+D++/+JtJQUTJ86DX379G3kl5k07YT8Hi+OO24BJk2YKDxtxV9uvU38Ft9Ndg3S1U1hzJsibW2HmIWSOUljQURGMQb5IqGpKtlcsN+bMBjvTQo387sJTxIAS/2/Hn4EFWVlOOfsM+JqARx5+OHYuGmzVnVharlGoB2uo37nvfewasUKXWnwyMP/1h2QHKI7OKUqyUhPx2mnnop7/v53ZKRm6CDds089hQ8//lgCG5tAHzViOObPm6crCqZOnox5c+Zg5owZuOySS4I2Wh8RQ7ps2TL8+OOPwafG0A6dKDDyhwzFHlKeW9wYETwRMVxy4wWwpwXWESUCZuID/3pIZ6NffumlGqBIISDd+Ktf4cX//S9h1uX3PPKtU08/Cxu3bIZHdJtakR6VldV46D8P4fyLL0FVLTffi40Jzfh60Td4WSTmxs2b8f4HH+DV117DW2+/jbv+9regjdZHQjpKpMSMkO1R0NCnnOwsvPD0Y2JM7V6YK2jeHHA14l/vukur0osuvFB0DPotnxDG5c8hTDlPSuv//fa3LSbf7KLpsxPsmp494YBXms4WeKX6nSxhuKRXiXwnRb7c9Ne4RofkDFLoc6hZuPuWGthNiFGUIfxsu9dH1+ez4y+D+yArpWkpwPEKbsXhDRW9Ysa6lX6qvxavkE/sNW/bW/q1Z+9e/P2ee8Q/CzIzs5CbmwOH6Bdutxcvv/pqk1VprKDu9svBnYVbUnHr6jVwS1WYIvF0SPN6YWk57pKWmR01OL9bZ/hs0cdluHTEoNqQayi5w5iRQld7JoqEGIUYNcCHF+9IkxZB4Nnnd2Nwql0H2NxN+Fp40SnoceNFchc9d1w1Lrx8Wya8lU0zCksOOwmjtXrI1uwlL3JV47zsNNw+oB9+3qcEV/UuwR0jBmF8Tnpw9DmxZPEKU9w6vB9+t3SjMAOXrIWLH88steLe9Zsx2JaODjyZLwKXUr8yiFWn+RqN5F/D5xZA7Cki6W/oJYFPN3iQRwmUXOoe+drkRmGYySVgz7AtCL4zw5hgZI6sdosbdoNkFclT66mVVs/bAR9N79zS6kyVJvgv+3VFtkMa43YrVkk18Oe1W3Dxd9/h9tUbcOuq9bj8m6X4tKwKtWL/+t5dUKDfjD6YqHELksfnxs865uKab5Y3MDeooZn4LQn0o5T4UosbF3fvgqHcAcIqLUeTPU1RuV50wfk4bO4cTJl0MI4/7iicfcbpmHzwwTj/3HMwfOhBOPXkk1TJ7du7t9ibS/GuC//NfoVSfYrGhoSKDr/VFGJj5Mg+hStk/fv0wUtPP4Ha2hAJI1VZmmRqGo+G1XahVG9eGw7OtqOPw4Jaeff7FRux1xNYxK0I+bTB0GkWG/4ozLPDakGx3Yd7BvZDH2Eu4TCksstHqkK/UGC0RSBMd9fQQfA6UvHg1l0BsxjBb/Kzf1+7Gd9VVkqcw3e43X3ffXhZFNiFH32EN95+Dw88+KDcf4h77/8HFv/wAx5+9FG8u/B9LF+1Ei+9+ookhzXiBK5EkRCjxIIoNYAJkbnJEyZk7MFlv43cBQyCoF5QK2a1+s4CpzDEIXkOfFTmwbpaKZcxhaUh6GSb14cLf1iOlR7x1+ZGDQ+09vnhEEZ1iopWSx1LmsCXfrcUKa00DyQU3KOGTWwOr1iEmT0ejz7XmcWW8HGj1RglHoligQse7dmtj6QU5iiIHGwLpFnq9+CtvS28tIQZYPHIxQaPMwUup02YI2ogDyi0GqOEg0dKOrXw0KbhkKw0vDluCFwm7gonUeoROYOkvMPSynN9fV4LqkVS1QjFXdk3E5SqZp0tIGEDMN+3NFqNUcJJwOeffhyvv8xOLeOlKcIssCYGiFeiiCqC0bnZJpnUsvD5vTj/qDT0KLSLnlOLVGFGTm53SJh/f3meSJfExmqY6YW5op9EYX4D1NvsYvPKyy8VFcknYbDBLhKOyXjk/Pm672+gSdHyaDVGCV/1MDHMdXnkbI1LokiiZed4sd7GNUItm1Ccb3vrVYUiDR24//lKrN3hgd/qFP1AdAMJP/tJfnnnbpGGdhw21onR/XlAQeQwaP9RjR89ijy4+eIi2L3V2FmaKTFqOitYmDimdtttt2LSpAm45567MXr0UE3G5196CTZr6w0sxs4oEvdggyIE4TPbK4rWVSen4eyj2QHX2E7AJHKCBiRKpDllEmw6NUgUuV2lNmzfaYVfUjPNX97wfQLE7Vb/cHEurKKkXnXLTjilQcItycLZJfmttXj5Mxc+W+GFVxpl4yT/LjvRiStPScf5x2XjsIlO9O8iBcBdDr+0otZtc+Cmv22H15YeqEpC/COx5zjUbPjQYaJYO3VK5M9+dj569uiu5pQ2tEJo65sPUSh8ukZG7IxiAr/VFCxSXx462oIpI0VniOgicnBZeuKPjriwelFmzRUJkIgyy+9Z8OtLcoQx/Pjl3/bArtuNMfxNVw2ETfQXZ4oFn30L/PVxF257pAr3PVWGVz5yYdlGdgxmwm5jBRFLKjbGHbf/RUJowSeff44nnngUP/64Frfd8md9x40VWwsJMUos2UePE/LchIQS02eFQ5qw6aK0sKu8aQS+4REl+7YrOqBGOPQ3fyuT5wS/38qYOXOuXimFFpxwCr5d/B2uvPpaDemxC04WSRJ/4YoFzc3LqGhuMqvoTQheqcvTUe1Ox3nHZkg4gluYmmHxaedZepoXN5ydIwyWgqtv34NUnZHV/hjEQGxyreURJ6NQfZOqRBLT6veoqPN4gBSnQ0qgG3ZR8jy+Gjj8NvhsVtilWWC3U/FzwGZLQUqaUEo6rDavbnduszh1IpBdPLFZpEkrpdiemq7NPLtN/BSF0Z7ihNfP70mpl4y1i7+hVRkXpslH5E4YK8hbfot8w+HDA09XoyDLi7/9sjOyU9xw17iRYqvC7dd0Qe9iH6qqnPjdv8okLh7JhPbLIPsaRpGNeZH6QYMH4/slS9ScWcNJPo1KoIhFikZuNhwN3AeV/SqcHNxUSeFXjMDWut06CGgsUqe5w+oSf6wor7YEdj0MomEIyGJ+uN0uOINLHCIhLy9Pz0eMBvNBkdEwY8YMvP3228Gn8AiNf5OL1GME09a8rasBplk8i9SNFG207UXQXGHe9iIzKwu9evVCt+7dUFBYqAdSmpGfn6/vOuTmSQAdqKyoDL5pCGZErz69YZOIZGfnRD0ejZKrt9j1iOJQVVOts9jYVU1mYRc24ZWouL1WPYCxW9eu6NunD6qEiSoqK5WNSTbxhyPMXTp10uu3331X985MU6ZN0zhWSkYdecTh+Pb77xvZGT9xgm6Wl19YpNu2f/v94kZ2SNzd2+P1oHfv3ti6fTvcEl7z+569e+l1xLCh6N+vH9asXStPVHrrt70YN2aMnmCyp2yvbgeamZGBTh07inRO0TBGA7v2zQXHgBYu+UbLb3shVwbKcNAeEG7bi7YEUzDW9IjHLkGJwgOZjLEbSl7tJ5FHr1cKOZvUch+OCTRnBXQZSaLQUovsChketN6eiAhnvr9TY5ZShggai+DXjZjDMUlrwQhRcp/ZnxrilCgxMwpFHev85jJMS1YXLeVXoopjaHXCEk4xHy5MoXZbE+aqh2EKt+NSK1c9QUgdWTexSOpOrlUh2KytW5Dvk1aP3NNetATi6n+1I27VH/FbV80Zbk33kQQtZ9rzPSPPhWi8Z1gkwnVujGcyfPihiAD4PYI6gfFdg1QvCILhjhYvKtlG/ElMl8C9tLuCCvj+BCMdm2z1ENTYvbUunHji8XqQc9mevZgzZw6KRPNfu2YNLrrwfC3lM6ZPl1ZDTz0BjIc+nXLySdi+c6e2bKhpGy2V8885BxMnTsR2aQ2Q6ydKS6KgIF+Plac5n3v06KHKG/0666yzsHb1auwNtpDUL2GMiePH6hokHmK5p7QU/fr303UvFWKvtHQPzj/vXKRJHHbv2olTTzlFDzTKSEvF5i1b6lpPbGF4amtxzNFHw+1yobO0jIYNG4Zx48ZCtH906dJJWxqjR43G9m1b9ZSKvNxcpKSm1R2PZ7QwGL/5c+fJd7pJKzAPAwcO0AX/XAJz7LHHilkBVqxcGZiu2IogIzNM4Tb7I7iNRou3ekKrHpaOwHhMfDiQqp5QaNXjkKpHmvChYGonkFwJQXNWwO+1edXD7nTziCRdG/dJChDTKFC9hXkXxqy1iN9q6nvxMm3ryr6fMPT4PJNOYwb1pVCkBA+6ogRQd0G3Kg3knh12BlgVEkYfiwGejWQg9F1z0WxGYd3OOp5t+wsuOC9oCu1JvOSiC4NPsWHc2MBpHhPHj8PwoUP1nvvG8qTTY48+KlBaY4YPV13ecG2uoczGAm7q+7Mzz1ApMfPQGZg145DgG8AlukxTYeHh4Nz9OzMjEwX5+bqJMNcMUfcZNHAgusq7gjyp0oPgqr4hgwerHsTTXAsLC5EqLSiH6Bf0h3uiGEhLTdWjfotFNywUfYd+cziEJ9BzrTPDHn7n8cTRbEahB1abBf997BHce+/9yEwLHD756CMP4+6/3yN3sWWMVxRAdmOzrH308aei+P1Q11J56unnMG/e7LhKyQvPPYNb7/x7g/r573f9FZ4YDl4iVqxYgQceeBB+rx9vvfU23nz7PeG9QFy4Wq/xNqUN0b9fX8yfP1daZF7JvDRduD5hwnjt0u/cmYryUOwyjSXNmTVTGCoXgwYNUOWfEmTq1MnIEYabMmUyOhYXB21yWGAMunXrhrlzZ2PatCno2aMb5s0/DNukUcDec55ev3HjxqDtloGR8jEPChJkjoL8QtTUVovWXAFHqhM3//pGPPf8C/j04890r49fXHc13njjLXz1zTcNeMWsgJIROhYV6ZHwv/zlddi7pwy33/FXHZOpriyTa6r2SxgDb8b5gQbCKbNFBUXSSnJj/mFz8MXXi7D8x+W6ePyUU07A4488Ka3vWpF+zgaDcOGU2by8XPzx97/HORdchDGjRuJXv7wexxy7QKPCdcUcw+Y4lRlsXZAYXp1ELozNVgeZigOkfGaceTUkEt8TPXp0xxppOTJL+I4Zo4Oqcq9HvAVzSv0z+UFjI3kNv8yIpMzSXYvsXB0NdLl91w49Rp/3HObfJc+ffv41evXuDr/Otvfhi28XYbg0MSOBEWOz2SsR/vOfb9WZApxR5nV5cNBBw1T0Ej+/7JJGTBIJ23du13OVx40fj8VLf8SRRx6u++U//eSzUkVK89Wa1oBJImHXjp0477wL5LsOfPHVl5g1d640myMtE20MZpCRcXpsb1Aa0sxgIOM9sXbtOjGvf1c38s5nqdbN9vW9yZ75XWshyKeJ98xy814uROJGOZQOuyWTyPEsRR2lPt4pjGBGtCat+iUJwE3tWCJpl2CJsso3QhHNL/avdOnaBdu2bdM6vToolcIhnERxu9xwpqbodlypaam68IrMSn+1X0KCQ5Yxh4rM8ZNvHkcCmYRg5w2ZhCB3C9c1YpKmoH7JH6sbg0mIcEzSFDg1gUxCRGOSSOBGOOzxZXhYlRgSTeelRgtO/EGNCu0RbgdoXXn1E4bX5cLEceMxY9ohmHPoTEySqtAnUrerSNkR0qKbcvDBGNivX9A2cMiUKciWFlJPUVLnzZ6NmdOno6RzFxx88ET0kab2WaefrpJ6X8Hg/+SgYAI9s2GrHpGGDBPfURr4OTdMBLfPxglLIqX8XBckksnv1aUgNaJ/pIgBW1KUypwcTcnKKo/nRBswdJxYYAghuthnVY9PSkq6fJiDZ8MPGqpczy02OZgXN5poYsYK6jMGJJLBu8QQzn0kP6NlnSW1GG6/GxX5XeDvPhLW/CFw9pyNzJJDhSGKpNk4HJ6ScUjtGNhm9azTTscVl12GqSJZeEr8xIMn4PB5c/H/brwRvbp3Vzv7EkZc45IoxkgiN4SxcaaCbgPB56YzySwFcrNztD/h3YULkZfTAR07FqNnz1545bXXoudCEOpXVTVGjxypbpcuW4ZKHVA8GEuWLMaGzZtjkjiGRPHUujBz5ky5r8SmjZswVFpsPIqmvKIcn33+uYQpeqDMEqXWkinSwaVbZNh80pTWJAqWS4tH0jPQtPbba1tcDzG807xqQqJs27rhBikI26SwbRYlPaJEMWJexyjiIF3EXAMtNFn1xAZllP2v1fML0X22SZ5vFru87hQeKE+YUdjh1hILoijG46lvo0EH4VogTM3yh86C0aE/wZuWh+k7MSNKlOgVO9y2bF53jeTHdnncIhKFjLJLGKd89+7dtWF1lMzMTL9wHilQj4QBE6K5P51B30K/lgpTs/wRpjd+dWAGtTQR4cyjUQyQ8NcIcSDJLYXYI1WtTxjGL1WoX5ikzhcjdpYFCxZYy8vL7Tt27EgVEZTl8XhyxbxAPCkQD3KFMuWenQl20ZAt8mxKmST2F0ge+qTWoDBwyz3ryL2Sn7vlnrXILmGSPZUCqV1cX331FVsJynYNGGXJkiW2wsJCZ01NDUf2ssXDDsIQHeTK8et08dApz3bxlO6SjLL/QSWE5KHBKDVyXyH5WiZ5XCrPe6RGKZcGDXso3cIoxpzNBlLBKnoKGzQOET8poihmiONMqa8yxbMM8YwaEadJWuU5ySj7J5RRhCF8koeSvV6X1B7VUntUyrVcpEiFmFfn5eXVZmVl1ekn6ob/glCpsmjRIrvUT46MjIwUkSxpIopShVlSaCYe2skk4mmSSfZjCIP4pbx7JS8pMdzyXCOSpFoERI3kN3eapjSpq3aEGjIKaerUqdZNmzbZpMlIpnAK9zlIAqt4yMnXSf1kP4fkJxnFLwVestPnkWeuXVWqrq72DB482BuUJkQjRiHqmEWUWmt2dratrKzMJi0ia21trTKJMIu64QyuJPY/cIWDMIgyCls3FRUVPrZ0q6qqPDk5Ob5evXr5QpmECCcZlFmkGrJs377dQoYRkWQRBSec3ST2c4iK4RN91B9kkLqqxnRVRMp8s7kyDW/IOGqSxAGBoqIic1+JmTEaMAnRVMYnGeOnhUYMkkQSSSSRRBL7Bs1VQZIqTBJJHHhIWFWNVyCY7ev9TTfdhKVLlzbwJ9mITiKJ9g92jgRvFYMGDdLnm2++mZdQoRKTkIml4Bt2LIbwMAuMiooKS3V1taVbt251Znzmtba2Nhb/k0giiTYGZyiyOz74iPXr1+s9zTiDkfcUOBQyIQImqmCJVuCNd3VjPnygACksLLRSaMi9leM/HDD0eDwWDhrSTlZWloXPvCeMQUQOKKpBEkkk0Wbg4C+vHAhWgyA4IFxeXq5Tn3nvcDh0gJjXDh06+ChkDAFjGuqJKlgiFXA1F43EYmgkCxcuDGy1nUQSPyH4/X7k5ubq/gTR0L17d6xbty741BhSKHWfS4slsFOJFGJdLiYFuW4Xe4LvpUA3MqM9qaR1Sb9U0ME3saNfv35IT89AaelurF27Vv0cN24c/ewm/nnFf59805uamuoVZcGXkZHhpXCRuHt37NihkwtiESzGcj8zKEyMadbWbdu2WXNycmyrVq36VeA1MH/+fPTt2xcbNmzQxGYC8JiEQw89FCtXrtTdxZhoIhHZLtMjFWjn5JNP1ikz3AyUy624cRQTiolNM+57wM06eZ4F9ybi+/Hjx+u+R0OHDlXzkpISTVieVcEtZ5hQBQUF6pb7DzEjuOko9x5gGPltZnZxcTFVOEjiYMSIEbpZKcOYRBJNQQpTg/NTyFfke25Wa+xpJTV63Qay3FS3f//+aod8ycLLtaMUIMTkyZM5AwgHHXSQbh/FTWjJo127dtVyQH/Jy3RD94cddpiWE5Yx+ssywLIXCxYcvwBffPEF0rcvx9VnHotsCdsbH36GW2+9VcuDlJcHpeWQIoKK2xA55J7LJqzybasIPZ2iSHCTOApVli/uFyaKRuADIQgrUKiZSMGzUJiweSP3ti1bttwQfK9np1BQsJAOHDhQBUhpaalGmueWsMDq+SWVlZgyZYruRixSD5s2bVI3TMhFixZpAou/6sfgwYP1ngKEgoOFffr06So0mDGjRo1SISBqmGYwNz3h9ofM6FmzZmm4+A1mDIUGE4BCiPf87sEHH4yPPvpIw8UzWij4zLVAEklEglmgkBfJNyzQJAoLwixQyNcs/D/88EPde7NAIY9zu1AKDWob9JPvybsURny3fPly5XljQx5qJqygWclOmDBB77lAnm5YwOkXyx/fT5s2TSv3L7/8Ek6LDRddcgl2bduC8o1rMG7+8cjv2AW//vVNWmnL95+RMOrSGiGHfEe8sdskrJzOyqU2LIsWxq1jx45+Q6iceeaZ/vfff1/DZoa5yWPcN5gny4nV/Mgnn3xSFnyfRBI/GbBAscC3ZJNnX8BitcPh98BtEbnhc2k7hU2e2traEyVMLtFMaqSc10p8q+W+WloU1SI4akVwkVxih8t5PCJYvKbJ942aPhEFyurVq1U7Ee2CKpBDpHRgX7ZoEK3Jzx0dBfS9LZKOiyK5iaKBlvxuS8fB7F9rp08k/5vz3VjdJvoNs7tI97Eg0e9HAoUKEU0Y+IJ8GM6Gum7CD3OY+b1w9iLZMZtHQqgd3peIVrNq2eKLxC+qX9UUJnLlkY5Vcl8lWlMVBY1oLLUiYLiYlCq9p6KiwhuzQGFz57333tNlXxQoIqXYriLtUksSCUN1I9g3ohDVym/jzmOBxySSSKL1oYVWhIvX59NdjGMB3ZCoVS1ftvg6uaUwqZKyTWFSKVcexlMpGkslhQw1FmopFCpy7ykrK/OKbPCFdNBqyTeHQMMmlqyVlZWWqqoqi0gmq3jMIWFqKXUnPPH8V3Yesa1HNU/eiWvREqy2gCcRsLesDO6qatRKe9QVpNpqea6Wa20tauS+Rq4UUmwzRgJPT+BJDExIfk8Ho4UYGf2+mNNO0LjuPS82hlXeiwUlPVYsaGZ2Y5DZ3JCVDJnZTuj7JJJoK0iBx+BBA3H0UUdj3fr1eoLZxPHjkZ+Xi2FDh+rpZlMmT8akSQejc6fO+PHHH2GTskV+Zb/P7t07PmT5FfJJmeNuBV65eig4SPLsSUlJkdaODi35aI9NN5ZPaQr6Qztn6a8BvefoDps70layFhQUcDG6QzzlLgbRt56OoKF4fV6U7S1ToePx+nD1zy9BYWG+duRypIcjOEOGDFGtZ+OGDbjq2hvFLwbFp51hHF4LBQXS6FEjMWbMGHz44UfYsnmLbj3OTiY2gSh5eSzcqlUrUSUCjIdWv79wIbZt3YajjzkGK1eu0E5g9qBv2bJVO8+uv/5a3H77nbjiisuxZMkP4FEy7NB1uz0aRo4snX/+eXj2mWewZu06PRbv5ZdfErPzpW1cgcf/+99guJNIom3BssN9B7m5JMsZhYxe5ceqjs8GaE4uJbGcrFi+5P/kVps6Yo8bKZVLmS/nVbQS3SNH3FTJN7QvRey5I/Sj6EfMJUDvwwkUEU5O8azBdrONYAiU4CNRIQWNp5QYoJC76rILkV1QhN7SfsvKyoR8S0eFOCLEkZvzLrxck4Eb1SokmLkibSOBsTC+yVP47fbY1L5QSDw1Y5o8uCP4QeO75u/Hg0Td7S+IJX6tlQb7Q9o2FcZw72lmoFnxE4+oZVOgrFyx9PciMCqF/7WpIwJEBYqU93KakyhUpFxIA6K6SYESuV3RTHhEeJiFCeH3W8Ew3Xj9TXjwoX/rUBmbNxL4OmpUy8tjZQWbdvVIEXcdCwspoQInK2tUdMwL8+fORUm3En3ukJVNFUnvmwJVOAoT42TliDAFj/a4yTuvLb3fdBJJtBVEYJCrde80EoefE0XcAoVaBifmiOTS+SSRwLZcY/ilqdMZDz10Hy6+6OKA+hUUIPSX49vanxECHjVRDytGjRqtc0xuu+1WVeeOPnI+Zs2YJk2PanTr1hW5WTmYOmkSsrOz1M87xZ7TZsdlF1+M66+5SoSGB3ff9Vecc9aZ6FxcjN49esBTW41jjzoCxx9/tJ4odf01V6N8Txlu/csf5H1PTJM4G8hITUOmEPtmBkpzLVyYk0hiP0KLMXDcAoVaxLvvvqvNg294kGQE1I3+mGHxITMrTWcJcgIPJ6ZxjJ+gYFDhEqZw0pzvA/ChqrJCv3399b/U0zs5czEzk3sku7F163bRgqrw3Xffo7ZW2pbibu3aNZgxYzrKyvbijTfelmbd8Xj22Wexfv1GrFy7FuPHjsORRx4l7i3i7gdMO2Qq3n9/IU499WS89eY78IpQ+vTzzw1FSCfQkQh2JieVkySSCMBcevW+pfpQWJBDJwO53V7c9uc/oEuXjtrDbPRXUDix/4TT5K//1W9EgFDOBfpQKEwofLQ5FAYszI1FUENkpqXTI5RVBHqnWwKxfDcamuu+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tWosfxT548SVsAnB5RLa0BJlBraSjmdNf7WJo87OhkoaLmUKc9xDJTVr5Ad3RP8npEExEzmzXgD08qV/+i+MGE6NO7N/r176eJyk7eiooKXTho9E5T6PEAh+XLl2lfx9y587Q5tXHjBmzaslVXbH744Ydql+EZPnw4igsLNeO4qKugIB/Lli1XtykpTlgdDnz15Vd1AuSgwYOxbt1a9OvXHzt2bNcTUIklS5ao9kWNa+zYMXjzzbeQmZ2Fb7/9Tt+zv+XsM8+U8JYHhZYV23bs0KYhJxwRlFULjj0aX3/9NUYOG4ms7Ez1r2NxMb4Ss4yMTFRWVmD8uHFYv2GDuN2Lzdu2YNGib6IlWxL7IVJTUzBowECdPMqKiH2D3bv30L5HrtpnV8BXX31Vt/qXZpzfRb5avXoVpkyZqgtuOc+LC3S1z1PekYtJ7UaghEUsAqWNYOgaxoCxuaHT1CByA7uqTVjEjTmZ6mHYZZQNG3Up2wx4rNnwS3rGMhTtp5Dz18Dmq4oQyiQOZDDPSfHwneGmXQsUm90BZ1qWFIJYo5VEKCjsOCOAgkqnBgT+moDY8PO0ehFATYrL+GFoZc2BMGSA22JhDX7ObC/4HK0JGgsYhkRBl5a66iPOcEgNyzmrbMbHFP8IYDawqyBRsP8yFJypvnXL+n3bKcuM4V4jVLcYIAOaXxJp1phJSoxYeA2FVG71rmlIwnOVqzBuOD+bSxRRzSX6oxEKrp+KSqH2gs/h/I2HQuMVDzEMfk3fBEh+/H7M8Y9ADIfP4guS+BknhcanJSqKcIhboDAg3DGK/Q7si0giiZ8WzBVyLNQaCPedpqhtELdAIdhh+MEHH+iua9FB75PUkEIRzk6S2ieF1urh7LQltT+YU0jvE+1DsdocSMnIquuUdbk5PEX1qqUiTo+bo6Y1131zYHybV582G42VoS5347btTw1sFgRyxpw/+zK/wkDyjD+bjVtn2HWpiNeXeBibF7t61+QlmxSxeNbf0CWJq/lbug/FHCe9b7ZACT5zyJUdUeYPtAaalzGJw/huot9n/xOZgel0ICKWdGmtvGtNnuCSEhKH8jkNING+iKbCGO49zQyY30nZjDhnKyzEI1bzrSFQ4lYfKJlF6OjkNu5Qz0LRFGorK3Wx3dVXXI7sjDQdJ+/ZswdSUx0o6dJZF+hRwpLGjByJY448Ail2B7p3LUF+hw5KaWlOpKU6tTP4iPnzkZeTI8+p6JCdrSuEuXjv4gvOR9dOneFzezCwX39NaG4CdcWll+pmTqeffgoy0tNQ0rWrrkSeOX16oPd9H4Mh8Em6nv+zs9Gre4mELQtX/fznKMwvQF5uLgoLCnRn/8K8PF1GwL1cGDfJZOSLWc9u3eGUmvNXv7hO06pDZrYwvV3n0GRlponbXBQVFupiyUx5zspMR66k2yknn4SC/PyY8jCJpnHIlCnKi0ccebgWeI7JWHw+/PF3v1V+5vZjurmRCCFu9MVyYF5Y2qVz54AdMbML+YUnRo8YofmuZYTv2nlWmQWd3seioVA6E5ogQnrfhIaibuSBk9nsIuHd0iRKTUlVAUVVkn+GX7RrqHBc58NZtZY6n8Sq+Eu7zBhue8c3nMzGDZE4VZ87lHP7BKd8x6hFNBPFLv3mlf6yYK5ctbKB37GC+UpXxjVehNNQdLsHJgXTjXGTOEotoELi008/ZVUkr6niyjWYBiTeK8nPI8KU8SN45QRCpmVgTo1V08VgYprxO6xxeW1JxJIuiaZdU2gtf4loGgp5mebMC4LpTbvkNb5zOJ0qMDrkZGu+V1RUwpGaopuQMdB0x64CNodp3ykVQq+evbBk6VLlZULzX5pcumNhEMzn9qKhmNNd72MRKAYjMgGYaMRPtcmTKNqqycMajfnF2o7roq3pqZp37hphXLcwJxmVjXCNkQ5wtgj2Vb4QrfntaAKltcF4GTB/tT0JlIA0iBMUIkxIQ5gk0UyIYOFU/Jze/ZE5ZBgKx46HtXN35I+cgEmTJotWF9AIY4HVZ5Eaz4qOh0xB0YLZqM3JFKEiBUCaQKwhnW7RVDw+pFgd8Kfa4ee8hnQnihfMQuHsSXDLs8cigqblZEsSPyEkLBGoRrMfJYkWgApnC/auWoaKxd9ix+efwrd5HXZ/9Qlc1VWByUgRwXci4KWW6n7mcfB0yIFDNI2t7y7E9qdeh72sAh67NDP5DbHpF+uczWwVwcFGpUW+a62qxranXsOWNz6EU4RRSq2YTRyKrqceDm9eFqxubwvqLkkcyIhboLA9yI2ZuSAp3MlhZtiEOa1eK9KHDELhkYci55iZyB41XGvkJOJAaHLJM3eL84vikjNlNDKG9pF7N9Y++BSsZXsgyZ4Q7OIvBY7XKXrtp99h08Mvw76rAm5qT8MGo/CEOfDmpIsWRIviIDRcbQHzd+uuciNaFzvjvS43fLVueA3is5j7RCj6uRjVK8112g/1x7hvCYhfeXm5+Muffov5c2fD4rUgNzsHd9z6Z5x26qna1O3bqyf+9Pv/wwTRRh958N9IS00LOhbI+wF9++GIw+Zi2pSD8fwzT7X7zlgDcbMe94G977778PHHH4dv8hiZIxSYJiy1Y1EOUg/qh+yBA+HoWijvxJ1SQ/uJkM572QfU3O9qR3AY8wakEJumAsCLQzSIjsfPg1W0kbKFX6LyO3Ys28ReDH7GQWwOaSeg046Kb5Zi6xNvwLanGn6bHfnzpiFrwnD4vbQYsG9Ok5bOF8M/r8eCDoeMRfefLRCe6sONg0V7Cqxi4giKzSGVmFOuQna5t9ut8NslDbnSUrQ0bu/ppkcpDlhys+Ho1wP5x8wQ/46GP7dDg/g0RZHykKViz47duOnXv5MyYhOLPuzZuwd/+MNf4HRIHFw+3P33u3DtL27EJ599ipNOOx3/euB+eGqkhqAf4u+Py5fj+RdfxiuvvYPt29l9KVqovDMo9JvxkIS61RC3QGkOGBHWrMlNnRMD06xw5iHw5HXAzsdfgb+8PLDkyx8o+K0JFSzyHb3zebHrtbex97NvYLNYkT12GPLmHQKvrWVZlTW5PyUFXU49GiljhmphsDv8KH/3Y6x/4ClUL14JlJYLE0sTjvvraAWnA6965YptEn88itPCvj+7TZp6Yq/WA3+paF/L1mHXs29j3b+eh2X3XnHmQXWKBT3PPQ7e9Dg6Ok3QVOK3+MBskcrT4meY5EGuDhF0s+fMxcwZ0/CrG65BVrpTt8EIraApIDNTU/DWW29h6LAhQdP2jYQECnu42fThkGS8YCJrGutTEk2B6WUXJrQM7A7rkD7Y9cZ78FdKs0b7VaRupvayL+CzSdOHFYQfZZ9/i92vvgNbrRTsggJ0PO1IpA3oKU0laYKIFNQKRGKiea+lrB4BpSpgaBVB5UlNRcHsycg/bIpOMfB5qrHp0RdR88V3mhiMrui8yj9aUycMOg4ISIWmo4TE70CaxGP1A8/AqoMazQTzSeMo/ut9YKFjx85d8cEHn+Df/34E/3jgQZx//oWSFn4cddSR6ozXjIx0pGek4eBJE7F50yY1b+8I5GQAet/UsDHHxy+++GIdiqRQ+fe//y1pZKkfNg7mD4dDWcMwo7IPnYiciSPknajOS35A6TNvacJSpT5gIBH3eznPpVr7MGyimtulcDCO4RifO3AxDTWdJOU5OuOXkif/pcAE6liLFNoxo4fjU1GLLZK+fiubP3QdxsN2AsaFYVTx4fXAJzVs+mA2d3tJ+XWjZvlG1O6t0qFOZ1EeMvt2QXnZXtR+uwYVK1bBIaJHkjFsmrUpJG8UIVqDediY/B8NLFCRomG8C4hZ3je0aXYbsBHZr3iHjekfqV0MGzPw99xzj/ajGMIkHuiXxQkpHtQIY7pSrahOc0rBYnFrHqx+Dwb1sWP22FTMHufEoK5S66lamiAkQn2ynXj74GF4a/wwvD5tpOQahUkMEZVEcUt1n5KTBWRmwJ/q5M7asGakyCubaAGSTeKN9qUE8q3dgAxE8lu9Sj4hr000DWk6+O1W2Nwe1HyzFNsffwnbnngdexctQc3qNahcsRKlH32OjQ8+hz3PvoPqVWtUxacw3hfCxIgH0/hvf70zMD8nRJjEi2jRMN5RkIQKE8JswvtofrUnmEuQcv7gwYMtpaWlltraWkt6ejoP/rGRpH1Xd7YxhYhBBixSyO3OlDppSgluIKVXCVJLOsk7K1w7dsK1dLXcU0OpTyYqK4GajUOa/N8Q3U8/GsWzpiH34FE6O7ZmzYbgm8Tgk4J+6iyhOU6MHyKCqhb44kfGLXGtKc9px2GFHfSe7fVHN23nnT6Hgp3bkq6aTrTBJoGnplbniDh8oqm4PFJbA0XFBdi4cVOj9vW+AgUkR0w423PsmNGimh+OE088AdOnTsfwocMxZsRoTJ5wMObPOQxHH3kEZs6cgREjhqNPn97IycqE3WYNnGFdJVoK+zUk5mY+aCsE0lwgeeCw23HRRRfoEoWly1bgtddfD2jXYcAKlUTtktp6ewB5w5hZHgsYdxI1rYqKvR/ILQsrtQ8l8Y8HYbmkfLtJfC/+C6tymAw+kQ1+0Vj8CZ9tHDpTNhwizpQVyp5R3+QpZ5PnuUCTJ9CG5ZnHbrz+8otwceahiJK5RxwjKpzpSFDJ2y5nHwdnp2J4hAvKP1qEPe9+bLxqEIlY4Zf2/RUnUjuhqujH8+/5cM/zXolHbP1CxnfN1z7pqfj7oB4Sb3mQDJ732eKI4Ys0U5ZmBjOznI0bOxYff/qp7iO6bfsOddemskXCwM9Rvf/jH/+AN998E2+88SZSJK7RUj5SvA3ovsTCnxMmjMe0aYdoAb333ntRydMJ4igc4RD6bWMAgAMCHpcbeR064CJptguP41+iZfOAfs7HiQUtNVO2qfQJ9z4YDYX5HQXcfjtTlgnJEwO5szaZIBGwM4/Ukii0OfHa6P7436g+eH3sMNhFYEQFh61VoLUvkEFZ4xgUyH2LFjQubGSYRwwdirvuELWc2afZ2DpgQZwyaRIOP3w+bHYbfnXTTXj/ww9FmDAciRUkA1ow01Lx1Tff4NY7bsft0syolgJKfzsXd8Rtf/kLjj3qaNHa3LBpXjUNCmDtABaJzvknXTt1wpWXX4a/it9TpkzRhZVM3zJJyz/+5c+45/77UOt2xSxMmkLPbt0weMBA0bYlEF4f0hyBtTs0Z7hobhx1a5H3vbr3CLo8cBC3QKE0/P777/WQcy5cSwRsJyc6+SocAk0lrxYwDgr6rR7xnw2GKNCmTXyB8Dn8GHjTpeh546Xo99urYEtJE+ZowYg0AZ3VKkJm0Xff4dKfX64jLCwK999zL4ryCyjtW0TAUHM449RTMWBAf3zw4Qd44aWXdCZuq0MiYxXBtXnbVlx5zTV45vnnYE91wO336GJSrsIdPLAvZkybjPnzZmPW9GnSxBqKgtwO8NS64OXkNWEs5qzN6cDGLVtw251/xSWXX473Plio5zPZHM3TfqKBO8z/8MOPyJXwcGJbmjTxuPR1y3Zp+krecfU3BVqaCNLi4mI9tYHPBxLiLg1GAvDYirVr1+p9vEhIQ2nphI9BQ3EK8x02dw7mzpqBOTNnw+61gnvL8wwhF1eIihdsgu0rsGnkl2Q578ILsH3HDm1iXnv1lThxwQK4qmu0JowFas/rRaeiIvzlj3/SpsFDjzyCpcuWif/7nuEpRB1cgSvxW/LDCrzz3kK8+OobeOm1t1C+fAXmZ6bg6kE9cV3/7riid0f8vHcnHNGxGF2tqXBJvFqzp8PoVOWvWoSeVyqqXXv3BGj3roB5TbWE3Rd870eFPG/duR01HpfkWWAOUeivoc/1P5qHvmtPaNPiwKiTeZvWUISJycdmXg72K7Ql0lLTccmFF+LCc36G8889R2sbFjYleb8PghQZ1F6kGfHnW2/Df596Ck6podlGnnHIwfjzH3+D666+GpMnTERnERqFUnsOk2br+eeei7/efjumT5+hu5Bt3rYN11x/nWqhbQFz9jYNbtLsx/iMNFzXqwfyRJLb7V78UFmNh9dvwx2rNuEvazbitrWbccearXhx6zas81fBYbEhXdLmxKJs/LZ/fzilUFMI27SjK3GwEzQjI0uaoW1HmWHMMtIz4+s/aWW0qUAhA7EwTujtwvN3ZuKFO3Nw+3W5qPV6tNlCcJjU47XgtYlD8PLIfnh1bG/kt0B6cdSk189OQe9fXIA+110AZ59u8i2JfoJ8xZrBV1uKl+4owvO350pcCuGq3Skvml8YDS3Qrn0oOh6mz3FBhEKl1IRvv/sRrr3+1/jTLbfhg08+wSbRLHfs2o1vpdl673334edXXor333lHUkK+ZUsRjUuaiiIpWW+2B1ADdHjc+PuIg4Qz/Pi40oU/rl6DPTavaC6BUUXyVDiw74Uj7rUiPP67vQw3Lf0RVSkOOGus+OvQXujHrqAEVUz2JVZWlqOqqqLNqNJE9eaVTc6HaUsklprNgh9um1+YxAuLz40Ur1uunPloMLDU/RYKGE5Xtkqb2CHNI4eoipyrEbSSANjbUOkQYWW1wSXtdKt80yfqEmurREBnXn8aHP4K2P21cHK3EV+aJGjzFWxtygi5vaoHyX1sgaQtpmKtpG22zYIZHfJwRfcuuGnQAJzSqQBdU0VYVLtQLZa8UgqtUtp8fjtqJR1qLJIf4s7uc0k6e+B3WZEhzYWTSgrwu969MT4vC24281qy8ysKrPLtEin8v+nXEy7hg4sXfS/pQLHH9E0sDFwaYJd4u1N8uOT7tVhWZUOt8NpZPYpwYRfuiOYJjNAlAnFXkF8gzeHAVhQcUuZMX2545ZN8JFEIcbpAb0lP7tCnM4HFnHlN+xyVVXdCNOeVa4/UH/aPCXjCJZc7tFe0fMiYIUFSrYMUBG/Dt+sTKNVBv/kNQ7tpCPEzaEfJhKhfM7sJcRcKCkFqE5H841DvkfMPxxHzD8Oh0qwgYxj+qivzd9TMjxzJkim5+egqkZpaVKAdeIoQuyqARdDUCMONlmbAHwf1xLziHKSLgsSO6XJhxndLd+L2tZtw85If8ejm7dgowsSS6kSahNkm/tMr/qvr0xKhQj8dIsBtDj8qRfg+vmEnbli5Cp/v3i1xtSPN78Ksgiz8blAvzCnMhbVGBJC2/RrGpy7vQyjcAkZ1LuYszDnSRLl1UH90S8vAGpcbN/+4StffqKWg/aYo0rfNpHknwilFtMB/r9mOuzdvhosd+lKQB2WmStyytVCb3YSSOQ/Z7Ehx2DF4QH/0LCnBiKHDdHvSKZMOxqGHTMFFF5yHyRMnorqiUsqAH9OnTcO8ObMxcfx43Yp02JAhep0pfHL0EYejS8eO6NOzF8aNHo0+vXpi9qGHSh75MWTQ4MDoqikc8VIkfm0JtKmoY0Qiqaf7EygUGQ3O7GTtEg4Wvw9FBQU484yTcdYZp+L4Y46UphxLbWT4xNdyYZaFu3dhk2TNh9t2obqqfl6MwROd7R78ffgQFNstSBUh8FVFDX6xZB1e3boX1VKR2UUDZG3OVbjNRjB6Pr9DV9BUW+14Y0c5bly8Bq9v3wOvCKgUrx92KcUFIoBm5mfh17274x9jD8Kdw/riip4dcWJRIaZ3yMDQDDsGpdkxMsuOufm5uLJnCR4YPww/79ERXewizESDKBNV9GoRgGtcNaJNMB3bhkW5zIH5arNZsbS8Bq9JEykwbB8bOCeF52b/sGw51m3ciO8WL0Z5ZSU+/vQzvPP+h7j3/gfwyWef6wzcFatW472FH+D1N9/Cp59/jrfeeReLl/6Ad99/H++89x5efOkVHRlas24dPv/qK7mul6breyJzLfq+PaNNBUp7B4WEQdHgDaYaa4qYh/10mDq6QGHNWidwea+SyycFy4ZUUSFuHzkYFncNtnnsuPDb5XKlf4HmIns9ovvestDT6OSnYZZCyKDslCbRm7vKcfPqdTj38+9x+XfLceu6bXhsx068vbcS31V5sUQk3lcVHry2q1TercPZn3+LO9duxSaPNGdEMPmlCULdQbWMJPY7HOACJRbxEADX0gyWGvSJkQOE+uOug3rDreM6jZEYs8celkawuFAjNfcVixbDy429xcjmi3+ld1uhLn2kGUM1nSq+Ch6KIItb7nnn020mrXIfOCqzLcVhEq2FA1ageDwePHDf3fjn/ffiPw/+C5kZGcE34cH+C27CkyUpkmm1IFNLRXgBwFeBN+IqQpOnEdh3EKNAcYjW43d4JQxuuKRJ47XYxClrbct+sdcrFStqcTaOePmsyE6rxRWnZ+Cfvy7CVSel4aRZqTh+RgrOP9qK26/Kwx8uLUaPjpyY5pZkYjwdmh9tCxvc0uySxpukNUV288Ccrq2pwYvPP1NHzz3zBM4+8wxJExGoXjfuuO0WPPH4f3QxIpci0A0LJLeV8XlduPOOv6CmmsPcbZ0WieOA1lA6dMhCXl4W8vNzpD0cW2Emmso+FpaAHRFCLdjk8fvs6N7FiuIiD3KErzv3TtdRif0BPklfj9+DkiIf7vxFHo49OEWaQRXKYWXVTtz+cBXOvXk7bnvMjcffcOHJt9245zngilv24Ia/7sC6LSnav+B3uXHGkTbccG4mOqR7dbWy10qBKppMM7mVwsqvvc+Sbxw5lLR1pAEzR1lw/83F6F9QI69cQvK9ZoL8kZKaiiOOOlbppJNOweLFi/HAgw8Kz/hx4YUX4OKLL8Ixx5+Eiy+/TJci0A1DFxjds6FTUXHAo/0I+6dAYeFkOePGQ0JuCFf4nYF3bQDtLNS7eDQUMmn05LZYPVi3yY+N2+xSCO1YvtKtQ7t+qTA7FwS+aFNNZ9+DhcIlzZl+XS34/cXZGNPbI2qhExt22HHpH/fg+Q9qYbEF1h4FM4vOIoDvAvGyOux48MUa/PaBKuyptqHab0WvvFpcf3Y+fnFaGg6b7ED3TuwMr0ZtpU+0AKFaoKrWi+qqaq35szJ86NHJgtEDrTjsYOCCo7Nx7cmpuPG8DPz8tHyMH2GH118uioIX7hoL3vzKj/Nu2ozVWzMkXi1dJESrtFnxt7v+hl/d9ButgI468ih07Voi93ZdUvDYQ/9qMJeEncFNpVh7RcsLFKZEkEK1fCYQ1eHGiC/pOBqy4JAUvHqHE6/cnoJHfuuAx+YyfyoqmptRVBpYTLRTkrVewDg2BNOEbo37hkTzICnkanVIQXXhrhsK4arhhkxiUe3I6zYi1ux+m9TgHh/+cHke5h0szQMpfD9u9uOXd5fhq5XcvoKpQmkrdsP4EUpR7QRT1ZlixbpddvzxX6X408PVePlDN9Zt5TfS4Ei3yjeFHNwi1oaUNBFgNgfKqmxYuxX48kc/Xv4YuPf5Mvz5cRFS91fgzodL8ek3XljtqaIVkP0TT8fIeWgiwb8euA8nn3KG8gqNnnjmGbnnbFsLUqx2VEmeShtHV9urnwrjGoTYZ3oZ1OAbcVKIzy2KNtVQGJ+W0OAplJioATm+7xBgjzaA1Q2bCJWL/7QOaZk+3CGCxeOySy3NEZ7WgVUS2CMaU7oIjT9clo7jZvjhqC2Ez+nGL/66Gy9/ZJfCEFg5uy/AAslRXa4SMIjPNA8UGYP2LajJnXnmOUhNq1+UyMltv7zxJhV+VqcD555/CRzSPHKmBqeEMw4SoQUnnYrUDGfb8VkLoE0FShLNg9WbDrcvA5f9fotI5mr89ap0dC+u1YO9AjpTorByjqgueJwszYFbL8/FqEFSV1ZxMaRPBEgVnnnLBo+jXARI+1k3sj9AxZpVtNiApKtH8Nnogwu98n0882DaC9o0xEzclqjRqOVQ429OEWoJ1KunbQd+k6Mn9lQnLr+tDOu3ZCArowa/OisXJ85zwFVdKQLGtDmVGRJcTX9qH1VujBOh8TsRHkdPlQrR4gF3h//4azeuurMUX/wAqTWFPVoxisGi85NEU3HfX9PGHG69b9kd20Qy+3wYP2IENqxfB69IarvHD5eoc1yY57NVw8Y1NVxH4uf+JdyDlVsCsuMzsNakNtWGdLdf1e8UjwWdenTDmnVrpQSIKmhlR5ZHvpEp771Ilff8vku+w4Jj1d3rxET8ZE+HvEaGwxkcLeD6CRu69MzDeglbmi8bbnnv8Iu5XLk3KmdP0p1RaXg1nFz1GjBw8D17522BjYEcHifcTgmaSDoW/FT5fG2aRTtSi4s74o033qhbGRp2xzYJMztmOxXWoqrah0G9OqIG3fDpF9+KBtxw5EH7brRDuGGd4JWf02tHWroX+VlV6NXViYysdJRXuiUPfNhRYcEe7k4vYeTuMUzrevhi6mSu/3ZsoF2teYUafE7AyYFGTUwfjffm+0io8zd4T9TV8M2A2Y9QLaGldmxLBOYUN3+VK5/ZjIoZ4hFj1W4OSw+HaIelZwS3c7RLG5GZwMJBc0aKNsorGZfIyM/P1x24NCOFAdPTuQjPgozMTOwtL9ONbeJBbm4ufMIQnDrPXn1mBv3OzMzA3ooK3fimKTD1zIlH0I8OOTlIFaFVWlqqe98yHfr07o1N27Ziz549dQwaTqAY/ax+EVw690A0kezsHOwp3dP4Y7RLwSkvQl8ZCDC7CEifX4RKJqoknbmwjIvX4keg8PLgKo5acCEbR0mYfnHNGBbQHcE9Ttxuj7jlgjrqmxwRaSg4o0PEtqQhZQmv3bp1w4YN3GuY8YuxyUD3QX9o3x0UcIHwsCujYXiiCRQWbC4GJFRQSjpxgR/9M+wxrAyf2hU/4kk3c66ZXR3YAiUYaxYUZlI4MAPj6mhqymr4z0SG4R/dhfM7Xv8MRPLL/L0gzMdoRAOZkovU9CArKcRknNraGnEraWinYI6cOLp5j+QBD1t32EQTlO9RGATyRQqcFJZ4our2cPIVdTZpdrGgiWPOgqV3uoAvRqh7EUx+KWzczNsjAkY3Jmfhk3DGHCaJOgskeU4FK+Mmzx6XS/ySwsrhnyZAoazCQ/xguNKcgUqPTypY+BETzAKlwbYBYo1Hnp533rn44vMvkJ3TAR998jFGjx6Nzz/9FEcffRQqKiqRLoW4qroKVVVV2LxpM9asXx/0IHHEK1AYI9IBI1CSiF2gJNG+EFGg7EMc8AKFtQZVPdYbSYQH1XymEyvHJPYXUGsJFBnyd3upMMlHqjHGiP1SoFRWVrabBA8cPWEVlTN6X01bghoK04eqb3sA04cMxjUl7anmZSc2NxliMyGJ8DDSKVa0pkBpFRWCBYVCJZTYTjZTJLNwbsI9G/dms3AUT5hamsJ90yDC/BzJfTizcG7M5qEUix0Doebh3BpmTZHZTajbcO9CidA+tzDvzN+Jh8L5tT9Te4JZT9KQxXJyYDhEOzmwtroaN/+/mzBu3Dh43C7s3LkTU6dMQenu3SguKoJIP4wcMRydO3XWg62+WbQIh82bh9NPOxXvvvsuLrzgfCxftgy9e/VS+7zW1lRj3ry5OmLTr29f8Myag4YM0enL5SGaCNu8THjz4e7cpJnb8B1//PHo2LEYReIvtaqf/exsLJNv9erZA6NGjkKKtE179+4lNYATh86YIeY9VasYNmyohKEWw4cNExqKEcOHo2xvGYoKC9GvX1/VhkaNGoXTTj0FH33wgXYWmsE2L4WckU7skLzrrju1s3WXpE/Hjh1x6KEz8NWXX2Lo0IMkzr0xZvQoPQ9p1MiRWLpkiV4L8vOxa9cuPTtnT2kpcjvkCnVAfl4u3C43Jk+ahEEDB6CwMLD7W/du3bRjcO+ePfpdA0wf1nTs1yERzLf/+83NGDNmtL7rVlKCdWvXSjhGIzMjXfKiGH0kbajdjBw5AlWVVejWrQSFBYWaT7NmztR8GztmjOZPba1LwnMwSrqW6CgY47Np46ZA1RYG9JeqvDmdMiTsjA9r13SJz6CBgzB16lQ90oXxGjigv4SjEl27dpH7gRpu4Wl07txZw9ZD8nXtunXtriA2B0wnxjNWMOYklov2f3JgkDtCO2V5rz8xSpPCROHywccf6TP/cUQisMcph+1sWpBrXbUSKI4qSCykwOmBTHQvTZhqKdRczamnDQpz0J3xHfpjZhgyH5/NzQuGJfDH+SheFRYfffSxqvv8Tl3Y5WL2i/eBuPCew4P0xK9CkaMD6VLQuEiN4LA53zHDCbM/4Tpl6a/hv91hx+TJk/H222+re6r99I81rMZRzDKzMnVImYxBs7r38ktNTdO0UQERTFuCoyqcG0QY4SJ4zzhQ6JoFL/01rkwXzQ+5V9PgO37DRoamedBeYGia8Q/GW4gX5gVHO+wiKJju4dLGAAsJBS/DX1NdEzQN9F8Y7jQswfDUryjnNcAHxns1DcbdHO8DARS6B26TR0Kq2curEXIhMhkzksOWLq9HhYlaD75jotRdxcwlmkyAEQN2eHId3XP4lMOmvHKlpnCN2tF36n/AH+O7kYh+G2FigXx/4UJ4JFz0l+8M//RZ7Bmkbo1n2pP3DBuHVHlfU1NT955x5Tvj2fx9I43MZNjhlYXmvffeC6ZH4Dt2poHJT2pUDqejzg2/xyvD7RJhTPOAO7teSUxL4974LilceEj0T/1UtzQImLHwGv5Q+Okrkz1eGXbNN9qjP2LO9GE86A8P9TL8N3/TIIaJP7HRwNycpvodeda0CeaZmstVnQXtBMIViLvZr31F5rIRjsK9p5lBoe/iIS35rYQDS1QncWCCBSGJ/QKt2odCSRgrL4TaNZowWiuGgYRJie+b+ka4PpRYYPhvgNP5tblAs8CfglfaZWKqmVYBJgthwDARTKdEwCYQ1xBo8KJ8R8/SFQtaq0UB48kwaRMp2CSKBsNOaP5wEqyhUYT7ZGiahrNjgFoGtRzCSCc2y0TlRv/+/dG3Tx+d7DdyxEj06dsXo+TK40p7du+O6dMOwXfffIPRo0bpaQNDhwxB7549MWniRHTIzkH3khLtj3FLE7c2ZFSLfTI7t21DqvDzQYMHo6igEOnShOQO9hMnTEBaSio6FhUjOytL/B+J3bt2aX8R/Wf/1Whpzi/+/vu6sBOcMJcj9gdKuDt1LNZ7zlouLCjApIMnYuhBQ5EqzRaGd82qVehUXIwUyY+Srl3Rq0dPTD54ErxuDwrz86Spm6Wzro10ZDrF04dC0CXzu/33ocg9mYaqrTH1Phry8/Jw1RU/x7CDBuOYE07SIzSfe+45HHfcAu3PePXVlzF//hG6YpPgGbaPPfYIzjv/PJQJY3344Qc4ZOZs+U7kL4XrQ4kKKatkmvfefR3z5h+N3bt3C9OO0Mx95NFH8Ic//A7SdsTyVWvUOgUNh6aDkgSTJx+MlavXYMXKVfocDuGm3scCNoVuv+UP+Muf78Cq1aux8P13cMSRx8AtAticAgzTyJHD8ac//R5Tp88ONDOigOnDdArtQwkFj5mYMH4c3nrrLRQVFuHh/zyIY485Ec4UOzp16oglS5bixBNPkJTw45VXX6/jsBIpwJddcgGGDB6CWXMPk8IWmBEbjT9YII0JW+Z0Ki8v1/QzF1jyW5oUSAoPbtJE1DWXgmB60z/aNbsNBd8xnZkmevC5QBekyjP9MMB0oj32X/AdYbgNB/JzCg9QFwGg1a34xXxi85RuUtOEJ4LBDZc29V9u+I7fjKcPhR6xadIafSjmVNUwtrWGIqHEu++8g6lTJuHV198QKewXZnEiNzcHeXkdtEZ6/70PYeFGmwJ2OmZlZaK4Y5GuvSksKsKbb74tH4r8pXg0FDLQIdOmSiaJAKqswvdLvkdpeQUe/vd9+NX/+w2cEp43XnsVf/vbX/Hk089qZpIJXB63kAczZhyC9Rs24IflK6LGPVENhX0CrKlGSc1YU1uNMaPG4NkXXtD4G98jc/7j/vvwwAP/xKknn4IHH3kk0KcQBUyfWDQUfn+dxI+d5LNmzcTSpUuwYsVqeOHDth07dB3TxZdchMcfe1wLrhGosrIyFTBHHn4YnpJ0Y3iipQ9BO0xfwkgnqdl0D9bM9FTMmH4IDpt3GBZ/9z0uuvACnHXmGRg3bgx6iIbC82uqKipFiF0iaTRSR6ioHTjEPbWMki5dROOYpIebe4Nriwjy7HlnnSVC8ij04KhQj246QtRV7J8sgnLs6JE6EnnYvLkiUPMxfuwYXdYwYtgwzJk9W0fdpk2dJoJzkPBoMVZKpcK0pfZx6cUXY7xoLx2Fd2ccMhVHH3mEnt00dOgwHHrodAwZMggpUobOO+88Hd2ku0gwv2E6/SQ1FEpjDr9mZ2cG7bi0x5/ZeO/dd+HSK69Git2h6yFuue12CZEFRx9xBL76ahHWb9qgud1RBMipp56EW2+9XV5zuHIoKsUfMkYkRNJQWHB4QDgrHWbKtm1b8fbbb+CXv/ylPNtEMzoM7723EO+//wH+97+npWY9Ut3VVlbggX/+A+dfdKkpIy3KtNOmHIyHHnksKjMQsWooDEdhXo7aZcXHdP3Tn34nhfYyEbJ2dCwuEqYej+dffFFzsL80A8488xQJ7ysaht/85mbccMOv8Mknn0seha4urgftxqKhGNDmn4TpHsm3n191vQi3QNrSnHn6xhuvYv4RR8IeFJwE/X3micew4MRToKNCTYDCJJyG0hQkCA347kAB42XAHD+mU3vRUNq0U5ZqY7Wofdt27sb2XaUoq6xUM24H4BR1z+q3orxsL3r37olTTliAY46YL02fo7Fhw2oME+l95hmnYsOmTejSqRNOO+UkHD5/Dq6+9hosXfJD8AvxQYXIzp0Slp3YumO7NKusUlPMweeff60FcJeEcdGib/Roz+OPPxUPPnAfDpHmzH+f+C8uOP9iXQH9yv9e0ILFtvjf/3YH7rn3n00Kk3jAlblGeu3awzSrwLp163DxRRdi7sxDcfddd+FF0VAK8nLxh5t/gxWiGd1ww8349JMv8MnHn6uG9/HHX+jivUjCJB5Q4N/2l79gypSJIvjPwqpVy1FZXYE+3Xvg7NNOw1RJn3/98z5cddVVcNiduP7666Qp1EndkuNSeRKisl4ciNd+EvsMZhbT+9aah7IvEUlD2Zdob4sDKVwpfGLVUNoC1P7CzUNJoiHi1VBY0En7vYaSRBIJwVQvsZIaPnx4nRbI52jo1aun2uHMY165t05TyMrKQh9pOhpggY2kdfLgc55hnCxIASTTIYn9CizWtaKtZOfkoCA/DzmZ2Tq607G4I3JyOsDhsKOkS2fdmIqnEa5ZvU6XHdisFvTp1SMoXLjUohA5FARibh4JYoHgAV2VFRUYOGAAenTrpmdU9+nVC7k52cjPzdUh325du0qTzo6d27drX2EvESwMR3ZmJvI6dNClBz9FtOoojwE1k0SnlOc9iaM1hPEcSi2JcKM8rfGdeEBVnsxtTqd9CaYPmxhshpHaA9gMo3ZgTiefLR3bS6vhK5mAveu/gqPL4dibmo+dOzchtdfRyOwyFNt3lqFm7ypYus1HZW5fpGYNQE16D2xcuwr+vLHY6eiKCmsqkDMMKUV94cudAMvOz0UABb712//7DTZu2iSa0DDRcHrovJchBw3Bd98txu9+93+YNm0qhg0dorOjMzIyMWjQQIwYMULXlXHXuO8XL9FZzG0FplM8ozwG7+8fozxBDdTch8Lx9yOPPBJV5eXYsnWrRKICW+VaUNQR69eu0wV2RcWF2LJlM/Ly8nSx2/KVKzWhWgLh+lDYsUt1dcmSJTrM2qdfP3z22WeYN2c2PvnkUw071364al3C1FZto+4OWVDXHDTqQ5H7sWPH4sdly3SIlcOUGVITMmy7d+7EMEmj999/H8WiunNRJcMmkWqxPhimdWgfCnc+m3Hoodi4YQPWrFmjE6pYsFl4ONTPOHAUh4vyONEqV/Jud2mphpnp3VzU9aFI2ugQNCEM5vc54LPUwOpnR7NTjKQ8KMk3LR5YhBf9Po/koQhJIe4lTPa2gCNOjJvcc+KkmHOuik8qQ2nU0JKCec+Jg/wZa6B8fq/wQUDgGnFTHpF7QwBzktou5k0LxD0etEAfSpXEhf0l5XItl/iwHyWhPhRzzPU+nEARDx3i8U61FQH7a6eswQyMvbGYjHYJI/y8tpRwMxBpcWAowoXFMDOuLYFwAoXg9/gzNwvChokTD4PBb6lwhRUoTYBfZjAihSD0XTDI+zWaI1C2bF73W7klE1ZIvlF4UKiUCT/oc5CqRCmole80v1NWMjXuNCcDBq6tj5i+EYm7BCxISsGayFwYeE8KJ0yM77ZkHI3vmcmA8cywhL5rCRh5Fgr9pqSN8U3zd41nDRN/pvexpEtTdgyBxfwLiLWmfz7TNRyFvjsQfs2B5JdXyCN56JX0VpJnv5BPzHwiRHj1y1U/JM2kqB80c6XeU0PZvn27ZceOHdbCwkKr1FYOailCu9RWBJgntiWRRMIgu5qZKPQ5ieZD0pRVZFBD+aUIDGooVVLGqY1UyJXaSYWYsyOoSpqwNXLvooYiV7c0yb0iG3xFRUX+Jps8vE6dOtVaUVFhyczMtJWWltrEc0d6erpT1J5U8ZBnYqSLJEuXD2fKO95niFma3KfJPac2GqQdunK1yjv6X/c98Sd4l0QSSbQ0pGwG7xRa4AkphuxY9citR+61E1bua0RYsD+AwkObOXKvTR1podSIX3zvkmaVq7a21msIlPfff58fUUFiXMMKFNFSLEY/irSVxC+bXT6qnbPygVTRWlLlYypAxD4FiwoaXsWeU8zZ+2WXKwUKhQmlh0XscNTI/M0kkkiilSHlT4qmT4qeChSfEJs2HNlhZ5lb7qmB1PAqz+ygrZZyXk3NxOl01kh556iP2hVB4pXWS2j/CRFRoGizh9clS5bY2OyhliJtJ45LsenjlA+lyHMKryJsUiQAJCdJAqvCRAJIzcYm9lWYyLuw30oiiSRaDUZhVwSFiRTFQF+JlFHVVKSM1g0XkyhIpFzzXholrlqxIzLF7RFZ4KEwMTV3zGpQI4FigGaqpZj7UihUUlNTqXE45EOqsVC4iF0KEId8WM2FDEGiwkQCZnzDwl57QtwmBUoSSbQyKDx49QTm8AQKvJhJudQOV4GXJGVUtRUKF3lPwaJzUOSdOPV4DGGyadMmf5cuXbzh+k4MRCrYam500LI/xRhGlvaTLS0tzVZZWWkXdcgmQsImH9SrfFvCZqM2oxqJSDqrITySQiSJJPYtKExIIjBIPim3epVy6pUyy4tXzLxSvj2iIPDeI/c+DhNLWfebNBOzIIldoARRp60YgkWkFO/ZcWvLzMy0iiCxyMetGRkZehXJxkab+mFcDYiWkxQsSSTRhqipqakr9BQmxpUkgsQnyoEOC4vQ8EmZ9qWkpPjS09N9O3fu9HG+iZRxfxhBQjQQJkRThbuRYOGNIVyqq6stIsks1FxoLsJE3xtXgsImeJtEEknsY0hLooEQEIFCoaJmFCDUREQr8RtChOaxCBIDsRb2UHv6bBYwvBIUNMFbzgINdZdEEkm0A1Bo8ErBoQaCEAFChAqO0OdGSKTAN+UmKUSSSGL/QVNCokkhYkbknXqTSCKJnwLiEhhJJJFEEkkkkUQSSSSRRBI/YbRmB2qyczaJJNonWq3fpDmFPikwkkjiwETCAideoRDJfgPzm266KXiXRBJJtEfcfPPNwbs6RBIicQmXeARKqF19Nia3GTBPcksiiSTaL4yJbAYGDRrkDwqacEIkJsESS+FvJEjMQiR0lmxydmwSSewfMKbYBx8VUabbE00KlaYKv/l9g7U8vJrX8xgHIxkChcdwqEESSSTR7pCSkqJrdni/cuVKbgZe95zoOh4iWqE3v6sTJtzJjVdj1TEFR+iiwNzc3DozA8lFgkkksW8QuiCQ4ILA0tLSuoWBvFLIcM+T0AWCLbE40GzeYPsCaiDccImCpKqqSrcu6NChAwWL3nO7Am5jEHTLM1r0PnQbgySSSKJtYGxZwC0K1EBAIVNeXu7nldsVmAWMCBIfBUu8WxcQ4Qp5WGGycOHC+sNakkjiJwKpqfWgOqkYgyaJoaCggNsDBJ/aHn7TeU4EnydMmFAscdNjMmpqarh1ge6FIopDwvuhaPMlEoxmjnlLgiSSSKJ5kIKrh3MZ9yzcJEIKt5JhxnvaJdFuIuBB8aNGjcLQoUMb+CHCJFX8TRVh6RShoVu5itZi51av3JmR+xyxa4Pln0pFUB40UDiC1zqEW21sWLLwnGP2mbCZI9LqxqB5XeTNEo+geaiZgVA3xjWaG5qHe2+YRXtnRrRvJJFENEgTQLUT8pABo5BLMz5o0hC0S3fm91Lj68mVNJ84cSLGjRun9qSM6XnI9K9Hjx7sEEWvXr30mNzCwkJ9z2vPnj3RuXNniMbAQZGgr9FBnp82bRquvPwy7Fn/A+xuDx5++jk89sgjejpk165d7/V4PNyy1SZx5E6LumUrhQ7jyPOZeV6zNIX0OdxZxqEI1VCMUlfX1DH6TILmqrode+yxGnmet8tAM7L88MiRI9G/f3+1R2nIxOvUqZMm3LnnnosrrrhCE47HcP75z3/WxOF5vrzm5+er9KSKWVxcrMT7gw8+GF26dNEI0Yx+3XjjjXr9xz/+ode+ffuqXWYCw3T00UfrsZodOnRQf5kpzFA+81u8JpFEojjppJMwc+ZM5clQkB+nTp2KI444ImwlxuYTy8CiRYu0HLCMsOxkZWVh/Pjxer9p0yYVRnS/du1aLfzkX36Pz7GCfrz++uvYvnEtLj35SJx+xCGwW/24+Te/0ffirx6FI1dDU0mRcsPTK3TDeSlTqqlw8IVyIIKW0gChGkqdQKF2sm3bNis7XqVdZZVI3sAXlK4vvfQSSkpKsH79ejaLsHjxYsyfP1/PoqXZ7NmzkZ2djaOOOkql28aNG1Xl4vm0Z599tiYcE2bIkCG6Izft0h8SJTclNmsFCqVVq1bpua1nnnmm+vHhhx/qd5gRTODDDz9cM4cHeNMfCh1mWr9+/TST6KfEQ4XK5MmTNXLHHHOM+pNEEk2BfGbWUHgl/7D2/u677xoJDUMIkIc5HGu8NzQUPovWD2laYN26dVroV6xYoTz79ttvc7qF8uvWrVuVn3/88Uds3rxZ7dA+34eCfhrhC8Wvb7oJGTYrssp3Iq8gD4MmzkKKVL4PPPAANZT/iBXKgAYnVNA/li2GUcqQX5o8ui8tzZrSUkIljT5LIWxwHKlc7T/88EM531GLYOH+6KOPVCOhBGQCTJo0SbWBvLw8vPPOO5gzZ44mAAv1008/zQ4gDSA1GCNhRfoZqpdqKl9++SV27dql76l18MR/vqO2wUygZKffo0ePVnMmNDOEwuPbb7/VRKUGMnDgQPb76Dv6xQzmPTUYho9+J5cHJBELQjtlyfv//ve/9d4QFuHAskBeNmB0yrJQHnTQQVqOWPnxmXy5bNkyzJgxQ7Vuo8nD8kCN+/vvv9fmTlFRET755BMtD3TP6+7du9Vt9+7dMXz4cOV/8jvLBt2XSxmzO6146ZabUAU/Tr/hVlxy8cX4+913s4KeJUHTA7wkLi6p3HncaC3vRXDxKA2eKuiW+HtEkHiMEwODHbRGe66BJDOniHFf19wRrcQmAbRJ4bQtX768LPi+gTQ0EjXULNxzqLkBJiQlMLWbphD6PbPfRDj/ze+oPVHCUq0MZzeJJMwIFShmXosHhkChe2rzrBjZlKe2zW9s2bJFBcJXX32lQoYTRdkkolCg4GHXATV9akY0Z+VKM96z3LALggKMlbChUbGiZxPqv/+6Dzl71sLl8eKTbW5cf+NNWsGKQDla7KkwkWce7FUjbmslTHpaIIWLEN/p2TxSOXtEHkQ8NZAwUsacQipQ2BkrCaACRdQ++9dff70n+D6JJH4yCBUoiWLfDhtb4bT44IMdHin7Fr8XPhE40sI4xSxMeBXLPDS9Wp5rRWOp4XsKHYm/W4SZRwSYnhwYcq4xofdhBQoPS2dzR9pw2ikjcEh7cHfwfUT49QjjJJI4cJCakgKXNMulkAVNwkA1XSlC5lIUgtwOHVC6J4Y6OehVq8PHEaaB5wQFhh6ILqZ6rrGQcUg6zziuFUHiokAxN3sSFiilpaV2ChS5r28QNoJIPasdPj3WuPUQLq0l8nGroPHmmdl+JLfxmpsRb3gSRXO/05y4tFUcWxo+v0/CLb8oPOaXH+1EAuPuF3+sLVThkucJI0wJ5Yv44amtuFT84tnFPCi9WkyrhCp5lecqaZlUs+lDocKmjwgVD08RlKaaN5JAMUZ5zN+ySnvMsmfPHqt4aOXQkcAugb+WEQlH8g8+q1OuASkupvq/Jahpv4hw5k2T8Qv3rrVpX323pShS+I1fuHfRyHCTiNvWpPqCEf59gIhw5vVkFP1Y4te0HQPh3oUn48d7S7DMer2ud4JlmC9YeHmYukeaOzzjWM89FuK5x2zv6dGlQpxZq30+4dBIZHKY1TwzVqRSA8FG1U88NQ5gDoFYlaDpEc0tRC3pVyjR79b0Pxrtq++2FEUKf6JparjZ39OlKYolfvGkAe36PF6py+XGZB5KtGf4ayrQKUJOER46S1auVBxIPKucCoUlJSVF1+dJeVdnUvb1SjkRDqECpYHwoGN6JNc6e5wTwvFxknw4aGogEFo/jcMQJaTb40Z5RTn2lu3Fnr179FpWXoaaWmnCyVdUioZx2xrEcEYKa2vTvvpua1OiaWq4OVDTxaCWjl/H4mJcecXlmHHoDG2eeX1eJePeKE+81qWxXIKgILGTKERIon1wxixnzurcFLnqWeVqOwaENnl0Qltpaakehp6ammrlR8ScEusaWuCEtgEDBuiQFYel5IMBx1aGLeBNuK+zY6uqogKemlqNkZUSVbQdq8TSIvde0Xhqq2vEPx+cjshrFqidOW32OonLbzG6vOqaSnlvlScNAzU5EXo0Vrtyb2c7Vsw1icRME8DkJpT8DKO40/ugGaUrzdixZbjju3hANwciGK9E4ma4OVDTxUBLx0/KJXr06IlVq1dreezds6cKmf59+2HwoEHo06s3OnXsiPTUVLVbWVGp/Ev4vO4PpExoM4ckssQtwsNts9n0KmVN56ikpaV5XC6XT8o6mz20r+7XrVvXiO1D87GuQ7aystLKIWNx7BCPnSJctgXtNAKLrN+epgWzrgAHXik4oc3j9WDowME4fP48FBUXorCwQNphW3UST3V1FXbvKcWKFStxx1/v1oLP6fFGwEMxc/p0vP32OyLUOsonKYy8OoMwvyBfh+Y4Ns9JP/PmzcPDDz2MFGcKXH6vromoqZRv7d6NPPF/ytSpePe993QGL7/HMX5ODOKEvPz8PNXCRo8eg6eeehI9e/bC5m1bYROBVFSYL/6nYdGib5CZmaFC1cUmYITwhkNoGh0oMDgs3rgZ6XGgpouBlo5fTlY2ph8yDRs2b8YXX3yB3iJcOCeFEzrtdpvy82effa6TPRcvXYpSKWeBpo8frtqK34sQ0c5YESCVUt7KpTyVixmpQp6rSPKuhiM9Ys8VZehYr400FHbISmB0gyRDQxEPbPIh1VDCQR1H0FA4Y5UFHiyIRYUSsb4aSU5F3rVrp07aEYkIj2gwe3aX4uNPvlRBUiuFnEIhHPr17YNZs2ZLIe+hfo0aNVpnFlaI9C0uLkLnzl10Atv27dswa/YsUa+sWPz99yjIy8eUKZMxduwYZGZl6USgnJwO6NKls0j37ZgzZxbyxA6FyZo1a3HMMcdyIyldKvD++wsxbOhBWL5sObZu3SbCrLMuK3A6HRJ+u2hg4fqUIqMlmao9gfFKJG6GmwM1XQy0dPxYkX77/XdYv249HHaHDk2vXrsGGzdtwvoNG7B85UqpsGuwTu5ZcRJ1GorP/ZFc2OHqpnYiV86U5TAyZ8lywhvNyNic2EZ7XmooTqfTLzLBn5CGQu1ECj8XDG0N2mmESBpKjUSkuoYCkAZWDB00ECccf4wIlmIpuLlYvny5zg6UQOo0/KU//IA//OkO+iZNCjqxIFskcGguZKVnqDYxYEB/nWJMgeST5gdnID7xxBOq2uXn5amdGklwaiZVck9NiU0v2h8kYVmzek1gWFDCTAHE9xQgi75epPYGicrI9RjUQIYMHoyVq1apnwSFHal//374/PMvtIs8NJzRYKTRgQaDw+KNm5EeB2q6GNhX8TPni6GhuF2Vf5I7FlAydaWhnfAqZaJC7qm1VHk8HpFF7KtoAQ1FzHR5s1yvVhthoI5VQxEE1X7+Z+drHSw+dCwsRuduvaRJ4kBqSqpqL1yTIwFXoUKN4b2FH6kXfimiEjEVDhQAZrCws4Nph9ivqXWhurZGBcfXixapuVuaV2Xy7Wox4/1eEVZVItg8PvFT3nOW4Lbt21Ej/rCpQv++W7wYq1atxqYtW+Dl8LcEYoc0n7ziRlxhq9h3eURgM3BCHhEy/OZGEWj0MxEuScBJu0FTBSORuBlu9ud0iQVNxa+ptG0O6K/ht8/r/lgEhvadSFmjdqJaipCu5xFSLUWaPB5RKryiDTWpoRjaTwtBgiqfoASsrq6Wp/of31HjePXl/+Hxh1+XyHhVkBgCQwKuZkaEDXcV5RWBFI5ERPDeLk2PBu+aIO2oDd7TLcMTaqe1yPju/kqRwm9O03jIcLO/p0tTFEv8WiMN6GddGsultdDCAiUQWtbYbK/pUFXwx09RcHz91Sd474NX4HAGdq2iFkJiYaZQscg1EO+gO/oXvBr3Bbl52qlq4QgMPyvmVBzs4vbGG2/QOTI0nzljuvpkuA0lhrNOuxCiG530Q5jMQ4lueMtRqmJpTgVCLDDZaYrM390fKVL4Q9M0VjLc7O/p0hTFEr/WSAP6WZfGcjFDyp++CV5ZLvWaCBISKBw65nyUxgiEtl4S1v/0rZT67OwOsDsDayNUgAhRmPA5oCEEZhUa7jhd2Txpp1aacqefcbruF3HhRRdq34kOM8u7k046Eb/77e91DwubaD7vvfe++uSgFmSVZpPY4VWnQPNerhz2pXZCc7o566wzxSRgj51ctGeEg/f6LERt6le/ugHXXce+6mD6B9/HQq1RC7UlRQo/zROJm+Fmf0+XpiiW+LVGGtDPujSWiwkhj81D3AKFozLspOSGRtQwGiIYWu1R5VP9L/DWj1tvuQWPP/rfuolx1E7oH/tQqBwE46x2jR+HnHllxy5nfmRnZ+mQMAXGL35xHaory/DHP/xBXgfmszz4rwd0Udd9992NgyeMR6ozBb/7v99Igvpw/HFHY/jQwWLmwO23/kUToDA/D7+8/hoRIiI6rF4UFhTgiPmH6Zj+4AED8NgjDyM9LU3jZONmNRkZsIvQuvm3v1VBGAixgHGPkVqjFmpLihR+micSN8PN/p4uTVEs8WuNNKCfdWksl9ZC3AKFG7tw01sKAdUoGiAQ2npJWP9TiBm1AfphuKVA8YgQCBTMgM0ABd2Jm4AewXtqL36U7t6NH35YqmGYOHE8zjjjTLz66msiTALLAn744QcdsfF6/bqhE4d5Fy/+ToRhJx0WHjRoMDIyMvHFl1+pYDj//HPhcgV2wqIfJV274oUXXtS9KLp06YrVq1ZpBzLDQs1sQP8BgSFtxlNRH79YqTVqobakSOE314TxUB3PmMwORIolfq2RBvSzLo3l0lqIW6BwM5fPPvtMd2xj4W2IQGg5KqLl3/TjkwVepKSmaKEkcbYtCyY1HTZTHE67yXb9z2oXzSSYIpy3y9GX9es34IQTFuC3v/2DTuJxuWqwa1dgM93Nm7lwyY+1a1eLoHkVF154vm43uX3bDvmOE5WVVbqT1c5du7TvheYej1+bT92798T3i7/HZZddonvgLvzgfWzasCkws1aInc1fff1VYNc50WgYDgpFRdBOLNQatVBbUqTwm2vCeMhws7+nS1MUS/xaIw3oZ10ay6W1wE80uDZvHkrQQLAnZO8Hv5TckcOGYMrkiUhLTdPZrNRUqGVQmyBRC3jwP0/SdpACl5wOOdo8MsCJcpwF6JErmyDcAIcCiQWbwsnoj/GI5tOlc2edRHfW2Wfiuut+qe74nvY5zZ/u3S43rOJO/RIhyT4ZbWYF7el3xJ0BhsSIKptYHKkyRT2JJNo1qEWwrLhdlX+WcsXZbpyDwpmxooajTMpOuZQRzkmpm4ciZbW2rKysyXkocWso0SF+UgIKpaanylP9j02WjPRMDBo4SPeEHTNmjG46zXteueVdUXFx0DZ9CvjFEFIT0Psg2Rw2/Qav7K9xitZjEWFglUJPc94H3tshwlEEVTluuPHXYk+aWmLH7hThQ3ui+VDzsKc4gloQREviOxFMJnv6HbkaRLP6sIgwMT3HSom42R+I8WpOehyo6WLQvoqfOV8MCdAaaGGBEggtWyepzlR5qv/xBbtNdARGtAHW6obWQS1F79l04MxVsatu5DErM0uviZJX/Ny+c1eDURqDgq2oRuZtQfvqu61Niaap4eZATReD9lX8zPkSKHWtg1bTUHhNS08Tk/qfVbQJ7SsRogAxd8wqxKyBfWodQpoCrUBmqd3WtK++29qUaJoabg7UdDFoX8XPnC/B0tYqiFugsP+BwqBOCDRAILSGJOQqX87loHYg4gM2qwPpImRSpYnCa0qKU/s0SNRanNRexA7tUkPhOh5DU2kNMkvttqZ99d3WpkTT1HBzoKaLQfHEj9txpEj5sbFEyD23+eCVRDM+cwsNwy6fae6QippXp1X+ixm37LB4uVVIwF/KldaC4XfdNVqnLIUJV95yJ3CeO/K///1PR3rqO2UZWj6ZPJRn7sFQK/Y6ZGWgKL9QO1EtbIII6KfPx85VdrJ6sHHbDnqBDh2y9X04GMLMaDIlCvUl+K/OL3PgI4BhNrSrcGD4woWNE/TUXP64RsgWxY8GCEQ3fLhiCG9bIlpQo8GIRjuLTosj1viRV8aNGY1ly5brOVJ9+/bRha+9evXWLTpIXDXvSE3DJ598DKeUH67A5+jrqFEjsWdPqR5ZundvuS7E5er4Tz//TD4ugoiBEB5tF52ynFLPgt94yJiQpBJvzVKYCcNRlkyhPRK55WtWY92mTVi7cYPS+s2bsHHrVqzdtBEbtm5BWqoTuRQmhnuTX5SwPpcbI4YOxaTxE7jNlJr5PV5kZ2SqZGbCpjqcdVLdK8IrTTSlTEl47hXB5pbhHzO2W0mJhC1D7Xbr3EWn9OsmTCLR01NShVLEXiBeJMbnkMlTkCbf0I2e5DlHvs3v+SVd+vbqhdzsbHXH79a5k4gMPWgIunXtqn5PGDNWR7sYHhWQQXvU5iZPnChp6FfBW1FZiaycbPQf2B/VkvaVVVXa58TFiXzfpVOnupqnLcmcL2Zi3ieiZRhuEnG7P1Es8WPaciCC+wN17txJy9vq1WvQsWMnLUusk2iHo4/kOeY/t+zglA5usrR9+w5UV9ciMzNL7PmwYcNGPfxLtxGh3/KZ1oLhd921qWFj1s6MIAuBMf2+XkPRx6ige+7hoAJJvsoCxH4SNo04jKyFKwIo/ejuxBNPQFlZue6FwqMaeYLhOkmwWilg3J+Emx9xGJobzTCM3HiGGyhxycCK1avw5Rdf1n2H/TwTxonWJc0wZiClOt1x3goziPNNvv3++zoBygyaOeNQLdTcGIrzaJYsWarnPTMsHPqmm+7du0mBd+ONt9/SafzE5EmTsHLFcrFTqWfjbhFBylEnkfSBhY0C7V8SIXXllVdgrTCRU5qFq1au0lPjckSw7NpdKt8OpD/jaXXY8NyzzwW2T0jigAH7EAf1H6CtgZqaas1rzoFau2aNTm3gSZtcnc+tOaSsIiMjHR9//An69+snvME6y4OsrGw9QI/aDTcVWy+ChVzPckT+aQ0NJW6BEg7RmjzNRahfTAhjlIiFj4nMRGcBZ+GuksLKafc1bq7ChmosbF5RiGl/jbzjnieSUOo3p9TzXYZoKVwSxShQIFAQ8cDr559/HpWSobRvgN/nOiCnwy5uXXpivlu+RwFiFTMKXDIA57XwWwTDTYGpfUVypXbBb1DAci8Ys//dOpWI4NiFNGESxnPXzl3IkG+kpaWK4LHpCmy/WGfcCwpysHnzDnlmbNoOkfLYCEW4d9Fg+BfJ3wMFscTPsEPeIN9o8zpoaPAJeYy8pH0o8pJnYnHQg/YN0D0rM145lYKg64CWtF8IlKDBPoQmmJBRYweSsR7RanKzXWYchRQzM5wb4zuhiOZ/bLDCZcuW/8G2bhOgILH4ymHzc0OtJH5qMHg2Hr6jGwqeditQOKN0yIgx2jeQROKgYK6158DWcXTgmRP6moJXBN+mD+BA41P5mwMK1MCWgc2vJUyVZkIg8zcvHFLhUaVLFP7AaviEYGEHPr/djO8r2JMXWj3GCkk7CQc1deYrwWbziuVL26+Gkpadr23/JBIHT0DiimgeNMAyZGoFRQTT3uvn0GK4TvLmw2DAyGCeG3bM9/WgQGiOUGEQmg5HZAQEUuKgMAp8P4EwSEEmdAuOZoCacmAiSSKQ9A/RYZgmZXt37vtRnmjwsw33UyVhuLDmcZAe18EOXBYg5ozBw1GI37VaPWH9awni0oToZLYT3j790Q6qBCm2cEQmc3wSIZHWcpVCyTIdL/H7QuHiFQ/5pGnrs/qCJPGKh8SLBvFRnpEXrYC4fKVUy83N1c5PdkQ2qjUoo36qRIQzT9IBRPIvbgrnT3OI0kFu4iE6DF5IIaW2RRGXQKEAEVVHD/risJX2MpvBkP5UiQhnnqQDiFga46Vw/jSHwn2jCSJMfgRNWgVx6z3snJI2lQ61NgJD+lMlIpx5kpK0r4kwPVOutBbiFiirV6/G4sWL8fHHH6tgaQCTFPzJERHOPElJ2tdEmJ4NGdMaSEhDIcL2nJukYIDE+58KMSnDmTegYG7WEZ/D2UtS+yRz3pHC2WkrCuWlKESYnilXWgsSshYEQ/pTJSKceZKStK+JMD0bMqY1YP6cXpszD8UIKbWXwFqdkE7bZoKj6Zzes+/ACDbn+6LdSdpwyI7LBlwu7uYfHc39YuvDHMJ4Q9v+Y0eQ7zSo3BOZCz4FXHKhQ/ytiujpw3LGfZqdwTDFCkOL2FO6vX1PbDO8ZkS5zqSlFaD9H0ygwFokruPhcbHcGDuJ/QMWi/A5j1MRcKNzYwuOfQufhqnRFI4oaE2B0spNHvleM8kfxqyliH63pv+NSdLclD46ezGsvfZPkdIt0TQ13LRtfsRHqqnU5R/vw9uLRrHEL540aBimCESYnrXktxLiEijUPLgFABfN8b4RaBQj6VTkELNwpMPoIaSfbmTGf2HMo3xHeSLErC1Jm2+mZ3O8wsUxEsVjt6UoUrolmqaGm32ZH01RaH4lQrHEL540iClMhOmZcqW1EJdAoVpFgcJd2yZMmKBL6xuAIQ0hamJzZ81ERloKjpg/FwUF+bp3w8mnnIDcvGwUFxYgPTUF+fl5uhjuvHPOFnvz0L2kq27KlOKwo7hjAc6/4BzdD2Tc+LEo6dwZBXl5yMnO0g1neJLfIVOmYNLECfCLsLvw/PNw0kkn6PdPkavP49HvZWWn66mDXbp01o2JuAcKO8tDw9xWZNQuDEP3riX41S+uQU5WOvr06okOEs6ePXtonLnHS0qKQ8yyNfxz581FnqQXjxdhBv77gfsxZ9YMeN21ml452ZkoKMxHekYq0tKduvtdB7GbkmpDdk66fCMTJZIG3IJTNeUEKFK60TyRNDXcJOK2rSiaNsBztS+9+EI9K4r7l9htVp01P23KZBx3zNF6TzPu/aNHssizsWcyZ8MPGjxIPiDNYc0Qv5aF/NxczfNZh84QIePXvOZb83fbm4Zi9CrVfbZHjx6Wqqoqi9vttqSmpjIONoeD50jgalooKCjQA7p4lCg3b+EwMh07UtLrQypXj7t+jgrtzpo1S0/0W3D0cSjIz4e71oWpkyajqLgjcnNzMPygYVgu7yuqqjBy5AhUVddgprjhVnc8HJ27rU2dPBUrl68QwZCth60fdfgRGDt6NL5fvBjVYp+zeDdt3ozPP/8CGzdt1nOQR40cia+++hrTp07Vw73mzp6HWrFLwSTtQt3Nqq3BTaW4oRJ30FLNShKQO8V17VaCyZMnYfH3S9G1S1cRlJkiiNNxwXnn6r4qmyVuh82eq+HPEEF6wnHH4f2FC7VPJk8ELE857NW7D+bNmYUB/fqguKgIqXanMKlND3WfMGE8unUpwd6yvdqpWFxQhOysLOwJ7tkSDwyGCQXNI72LBsNNIm7bCqxQ9bxrAc9yUu0gCJ6LzW0WC/PyUZibj27du6n9xYuX6ADF2HHjlRe522Av4eXxY8agf+9+6Ne7NxZIPu7ZVYpOXTrpRlodC4tw8PgJKKsoR4/u3cW9B9NnzMCGjRt0ZT/PkzLKGsPAMJnD0hQMLaKmpvIjCSMLKleWuuSemwjV8ip8yWc3Scq4R3jMW1tb65W4+KTc+DMyMvzr1q1rJJtC87HJTlkKEBILAkcq1JHETjtlg+C7QKdsAIYbCZxOhuOVhYBmBJ/ZjGJHJTceMjQfmqk9P9379YBy8zt+n5mVmpYqNXAutm3dqsKLs3ipuVRWVapQob/8LsGw8Xtcj8TtFClU2pqJjU5ZphHDQzA+xtUIr9vjxgkLjscrL72EGkkXi9SCRvox7ZgW9ItpxpEjI270g1cS35vBd3RHu/SLaUh78YKhDufK4LB4fTT8i+RvewH5ipDy0SjdmJ5MV4OY9kxrprlb3nHxJ6QSOXTmTLz77ru6jSc3PiIPMx/ohvnI43FdwsPcZZBmZVIRGmWF/hllgOB7hilqHoYkKptUfNwPR3mSCAdDoHC/EYNRIsHMJkbOxQojhy1+sy9irma8ipDXd6R4ff/pgYW2fpSnsUCJBZrSUj70Xtw3lepqJ2g/EvbrUR5GjhS2IBi8uZ8Qy1JdedoHFEv71whjIuHU9qpodlavB15XDarhhTdFNBp5Ue2uhdVNRVkeyIxKjf2IlxINq+EmEbdtRTH1VzRB3EpAO02EYolrU9+MKUyE6VlLfishboFCdYvNBDYZGklFhnQ/IlX9QszakrTdy6vWQKLyiroLUYFp7lEzq6izwa01YyBqG5zq5LO4YfP4UCGaUP7sSeh07gnInnMI8ob0g7NbZ+T07omiaeNQfNrhKD5uFlxOhwgdaZtbbLD6bOqd2d94KNE0Ndzsy/xoioz8ag61dPxiChNheg4ptS2KuDtlDe3EaPMTdKydsrwJ+uSRNmPdczslo4ZQudiGpO1kEczsIyE0kfNygNwiZPbuBVt6NvJ794VdBHeO3YryStFEw/gTjhweEQo5ueh24QL4yipR9uUP2Pvld6hevwG+baXA7r2oLd0L17qtKF3yI1w/roW/b2cMPn4+tq1fC191pR4JQu/M/sZKiaYp3dGNcQ1nZ5+TgGdf8579Hlqhmt/HQC0dP2ooDFPUsBAhz7y0Rqds3BqKAQqWRjBJwf2BEq1NW4qM2oXjZJ7dpfBvWoeKr79G9apl2PHlp9izchmsPF4jxF1Dkiwk0S+rA13POwa2rBSsufM/qPphJfweHqpmgUN17YATu1QInPWZItzt9Xlh/2EdvrvvcfiErfpefCrs/bsHahpqK2InnjRKNE0NN4m4bStKaihNIyGBQu2Ec1GMUZ46MKT7EbG2IIV71xbUZPtXbTRhR4hnBaUe1Bsd5x2C1fc+idrNWyVnG2oZ5nga9+Yr9/Z3iOay6m+PoXbVVhSfdxzSRvajTBEL9W6bIvpl/lasFBqm9kgx9Vc0QS0dv5jCRJiemZ2thbgFikeaMlOnTtUhLaruDcCQmsjqsyrBy2aStO7lGmpnX1KitWlLUZO1i9oIb4fpahHNhEOPXU4+DDXbKrDzxddESREX5NowbqKR1RdIC55CZ3HXYst9T6Ns6Qp0P+FIpE8YAjc1Ur80hoJ2w/lBSjRNDTeJuG0rajK/TMR0zO+QC5tIZKMc5GTyREwpB5I/nhqeMtkXPbv1gNslLY0Qt5TjBw0ciOKCfNEcPRHTJaYwEaZncdFqiFugjBgxQud6cBy90a5tDKlBQfjtdhScNA9Fx8xC4XFz4HeICm+2tw9Jy12IWVtSQhpKEB7hOJfDil7nHIu1j/0P2L4Fbgp4s90EiOnB5jg3nHbW+LDp0WdR/s0qdD1uNnLGHYQaryvQwiJM7szuE0lTw02TbonQZymkPI5WGvjwukwkzz4S54dwEiH7/VigDWdm/4xrFIpJGxDipMETTjwWL7/8nLrxyPePPmY+XnjxGV0Q6vF68Mij/0af3t1x8METcMMNvwyMmhp+CH7zm5uRmZWOs88+C0cddaSYhP92TGEiTM/iotVg/pxem5qH0rFjRz0/1dyHUjcPJQi+M+ahWESgdL/xEslgET5WJzb86T4pCez7CTPsHAb8ihG4loYRg9byPxKMeSjmiW3hwMLQrUcPbNy0KWjCgu6VWs8OX04WOs6agk1P/g8OHrvBxWKtCSmL3sJsdJk1Dbu++B7uZWvhdfhhCwl+omlq5LNxDQd2A1klvaxyUyXCIbVLEYqG9oejU76mpaXKK8LDJ7V7wBe/XbQ4Nv14Ho0IXxuXMNjs8FTVomzrFlQu34iqLduQYpVKzi5FU4SoagJREG1iG0H3UyZPwpLFP+IfD9yN4447HoMGDcKOHTvxi19cgwsvvBS9e/VEj549sfDjT+CRPP7TH36LG37xaykrgQqBQfB7fdp/VlFejpdEEC1YcIqEX3u2GoD8054mtsWtoWzdujVyIaBxKAVRF59wdqJQa6rAmrAhZm1JTaqraqOhHasIE39uB+RPG4Pt//2fTqtvizj4bcIqpdKs+s8LcNdUo/sFCyQwwuAh9hJNU8NNJLdq7pFPdshHt3OPQ8fDp4hgtmL7wq+x4d/PY+cTb6D0xbew+/V3sPP1d7HjtXew+6W3sOPFN7Hthdew7alXsfmRF7Hy4WewTp4rvlsJn9Mi6TgW3S4+HjmTR8PraZjWoWFpMr9IgoULP8DOnTuChTww/X7Lli16T/AA9C1bt+k9j5blmdp9+/XVZ/rB79KtT4RKT6lQ3njjTV2q0ehbtBdjmMzPgVC0DuIWKFERSL+GFATVS9ZmNGIbUWG2F4GaVIGbQfS7Nf1vippUV9VGvR2bBNaSlYY8ESY7X3iHqo4wXuCslgbuWoGEveX7Pngc8rBpK9bc/xTyxo9E2syJkp82bSKxuyzRNDXcmN36tEPHG+CXIb3R76KT4ZZafNW/n8HeVz6Ab8sO0XZr9MB5LrLzyZWHpHFjL25+5Bfi1SoaiIVpxbOtpWDaJLl8laIdbtmNio9EIN39X5R98h0ypg1FrzOOkXRNUV51i9ZihEXD1lR+CWn8OXGNWpEY+UWbsrBHRCPGiAAfffwp7rzjFqkcPEhLceK0U0+Gg9PpaYXuhQ6ZPg3vvPUyrrv2Cvz73w8HCk3wvZliCZPC9BwIReugZQUKQxpK0RDOfghFqrFagrQmCDFrS2qydlEbATss0LUZGSiZfyh2PfsuHFIo3My9UDdtQvLP5sXuj79A5Rufotclp8CblyNlP9DsSiRNDTeBazDOIqGc/fqg5IJTULNiA1bf+zhsO7fDId/xWbl2qaEfCREv9MvtQc0H32DVQ0/DeVB3dD1pDlJcDfOnyfwyUxABLaUeDDNXjx9+xFG45tprMHv2IXj4P//Btu3b69wyDd57933MnjUfl19+FV588Tldr9XA/yDFFCbC9NwwRC2LNtNQwiKc/RAy11gtTcq3IWZtSbFoKJyjYpeC5bI50OfU2Vj/nxel8vPCK1WoXTSGRm7ahISN/Vatxa2iHa3960PILi5El+MPg1VqXO0e425mYd2GJyMf3DY33H4vUnr2Qq/zTkTt+u1Yd8/jUrhdogWxRIgmwu/Lndl9/MS0M6cfO2vlJ+F2LVqOlU++IUJLXtS9jyG/zBQB7AdSbU4s/fmW2/Dks//DpEmTsMnoJ5P3RlpwDpDd7sCOHduQmprS0H/DTixhIkzPTMXWQtwChXNQPB5P3crKBuBjKJlgPNYZm+1FIKPmag2i363pf1PUZO0i78mALknzwT9bgDX3PAMfmxxM91C7bUzmdPOItl6zZAXWPfYK8g8Zj4LDJsOXkSq84g7aZZgDcTVrFbzQHxYuqwhHzj7N6NFXmx3umnKsvu8RoLZCuLSJdGphYpPFLgFl2pvNm8wvM8k/7QeReLHQ08jKJhjfiIbVqbgjnCIsfnbmWXj66WeRIdpn/379dMsJh9gb0L+/yGQfhg07CDt37hYNJZCWoRRTmAjTM8PQWohLoFCAjBw5EtOnT9ersfKyDgxpKAWhjCPPylf8qtlOFKL9cOYtQQafh3vXFhSLhpIqfNTttPlY8o9nYNN2Od004a4NqEG6yT/mqc1pxe6XP8DWV95D3vBB6HLSsUjv1xMudw2sPm+A20zuOWLj8Xng9biQM2E0Sk45UoSQB+v+9Sx8W3do/4cKI4u4DbprCwqsiAqQYUaKR0PhCP6tt90h6SKuhCx2C/798CN1U/cnT5qIC84/F599+ql2ulL78pPEObfp6NenNy677BIUFhbgyiuvDWxZEPINUkxhIkzP/EZrwfw5vTY1bDxq1Ch06dIFWVlZePbZZwPDdRLESNsXWBzBYWOuboUT6zlsXOuSxAu0tw8UMD7+Wk+wX0OaI45UEQCSIGFyL3T7Aj3wnFbFvi4UlGeyM2q9KOlVgvVr1+nwO82UydspNGQSbAoBqzxxYyBn987IGToAGZ0LUbFuI9wbd+nmRCkZmUjr1QmW/ExUrdyI8m+WwV+6JxjPfRtHFgZONuMmXuaQUOOIdfsCvokWC30vFuhHaHwNX1mOjG9E82u/3r6ABYAFYffu3YHJOGYwTqFkgvFYZ2y2tw+IlR8p3Lt4yS818D+H98frE4bi9YnDMDldBAeHPcLYNcioXVgA/alOWHKykNWnBzKLpRD27A5fXkZAGQlOBuT6G7P79kYGT1MwUhu1Oe3wbtmOna+9i833P4nKhd/BtWkbPMI7VWtXY8fL72DLA89iz4dfwldRDjg4WrRv48h5KxmZ6fj5zy9vxBsxaQNBisRXhrlehT2YVuHsBN4LXxj3Eai9aShxC5Svv/4ar7/+Ol555ZXGM2UZ0lAKARNH26b6EBtZxZHHITV6ikOX2oezEy/ZrU4cPi4Fc8Y6MH+cU1TKSjEPpnYC5Pc74LaxA1UKkjy7LU55IQ8h9sxktH+90la2C/OkiOZSvn0HqqrLULZjOxzVXAhKrmvstj0QywI1K8bTL80STrrzWQPkFeI7Jdjgtduk6VMNlwgO795yeCqqtS+BO5bpdAL6Y7q2NTGcFp8fPbt1x9ln/Qx3/f3uRnbi6kOJQC0dv/26D4WgamVQI9AolEKg8QtnLwq5xFH36y5A/6uErrsUHi77D2MvVqLcSHe4cOXJdlx2QhquOjUVDmuWvEvcXzZbGDuzscJsEEJG7fL/2fsOwLaq6/3PkizvldiJEydxdsgOmRACYe+yKbMtlBa6S4HSAoW2QOmge1NK21/Hv6VAW2iBMlr2TkImIWTv4SSOt635P995uvLzs2RJtuzYVJ98/N6789x17rnj3cftDsGWVjSLyh9sbEaorhHhhmY9vjKVXrGvibxxzoMbzrzIQZ47H/lCOfLLDmVrOQW4JV60t1jpMD2vynGHWV8SeWPxfeIT1+mcxY9/8mPVVGK5c5qlSulOX1I8EbZn8dFrMHt5o9EmOg8lFug53iHV7IFKF8/XIQF7qvqXl8LF9ypsyeJYkdupLe3PmimwgxpNmYTBlQCXaAEHnntVZ8y7C4bOCcRLTpPYOFcoSs+fn26AP+B4ezoFhKSmfKCyFGXc0SgRPL//EHb7mM7O6HRIdQR5OTnIz8kTe9FWcmT8HgqguKREzxTtL8iSwgj5g5gwfixOO/00PeX9ggsuwKwjZ2H69Gl6EPNJJ56AD5x9Ns4992x9V2XG9KkYMXy4jGgkbyS99YfqNBzu8jUwJd6x5HsPrNiMi1vfZwjft9zyJdzzzXuwY2f7jlYn2InGO6Q6WaQ7feRhQB9SHQsUAgnf5fG3iTjxYuu370NWG/cUyHCAsYrbk085FaOqKtX9li3b8Pzzz4t9ewYFhO3Rt38ObhFKPF38vdu/qwf5dhsSXn6+C4/eK71om3AlcvMDN9SiuU0qfAoFY0dAGsivZozGGK/1aY6vrd2MpY1tovpHHNgQ710eflGgcmgl/DKU5An+mzdv0h2e9nd5Did8Um5XffgKTJgwEX//+9/wxhtvwZudJ2Xh1h7eCU6xccVCD2mWhls9ugpz587DvHkL0NLchFWrV+G/z7+gX+HT1Q8Bc6N7JZAaApLHM2bMxBVXXIG/PvhXGcq/rXWKKzJdIdG7PImQ7vSx/gzod3l6CmobnKs0CeTXRhYcNVd6tDOV5s09EkFb5hhu0woNnnnRfS2nNyCCHCtWrsDadevwwssvYdu2bWpeVFiEQDCEtjbpTFRn7jto+5K4j124EF+7/XY89tjj+NrX7sSKNWuRV1gIdw63uEfKVSgYId4ze11eN7LzvMgvLkDNwUN48uln8LW77sTd3/wm3nprCc79wDm45+679JMqrdJI0w02Hp0fEdKOrrERJ59wAu66627d+/GFL94kaVkl6fAkFCZ9hf7BRfeQskARaYXq6urOKzwEc8JJDrCeJXKjiNipNI3lJmJviOeCcJnSJz1hsIuvBUZJEb2xwMbqdJcKxUIsdxFSNdXx7NZ3T2RwyD0YMjTizpMhQ4fg9JNOxD133o7LL78UzdKjK2x+e4u4onfnnXfi4MFafOOeeyDDYdWwtExiULS8uiAO+XJzclFbewiPPPIIbr31NmzcuFGvn/nUp0Vzk04zhr9ukYCLB1UjRuCb93wTN954I959913cfvtXsHTpUuTnpnBmr6O8ukOJ8oaUjBtDSfFE2J61DfYSUhYo06ZN08LnB4k6gZw6yQFmVrQj6MKdMdc23oU94Zdc+tak0fj3UZPx1IKZOK80X/xEci4WKZh0h1Dsyk8yFAux3EUo4YSa2HOfJfP7WRkGfvWub+CxRx/Ft2Wsv3jRcdaBVbH8pYF4Cfh8eOCBX+Nb3/om1ry7Vl+uM5qIlkkMipZXAqIbE1Z2bg62796F7/7g+/itxHfFpZfipz/+sX78zIyMnf5jEUtUKzQngYMB/Zri/b/6Jb7whesRCvjxlVtvxU9/8Qvs2L0bHhlyqhaVAnVVXpzDPf3UU/UMFu4lys/lPiRg7Ohq4SmsZnaqGMx9W5HEOSiZ/DPU3yZlUxIoVBl52j3HxOeee27ncRs5dVJX6MpdxFzbuM0+GmfEXiFG0ulZFYpvp/JBa7YYxKIIbLcWuvITJcsNbzua0yAGnG5slLB3URftbpguzjd8/et3Yvnypbj/gfuQJz1sst+JToU4MXzffb/Etddep4cCOe21TGJQtLxSJPph+hjX3//xD3zuc5/Teabv3HsP7pYh0cKjjkZ+Xh6ysz06uWuI29crhwzFSSeehJtvvhl//OMfRQu5CZMnT8Wzz7wg/H8SP/vZz7EnclyAVTfa402FuiovapP8QsGsWbN0XmbcuHGcHlTNjitdF110kZ50ePXVV+Gqq67ST/qWlJbFDDOV/EtYh0iE7Vl89BpSEihszFQTuQ2YaqR9QlFBTp3kgPZKjDWBO2Ou7ddmH40zYk9wC7f1upUMF2RAz92q6sq4iUUR9x2grYHXWBRCyUnzMe6OT2LMHZ9F5bmnSEPW4mx3EwtR/50pGQ3F6Ubzwu1CXWMTPvrxa3H+uefgIx/6kLDOPGh3113ihd9V/t73viuN8Vo9lChWT658xKBoeaVIxg/nX3jPOHfv24svfvlW3HLbbXj+hedRVFSAubNn4dRTjscpJx8vQmYexoweiQP79+OpJ5/Et791L664/Erc+4Pv4d316xCQn25pF/VB652QM95UqKvy4js7//znv7B16xbdp7XqnTXc7ISG5ia4RAg+9tijeO211/D440/gwQcfxDtiz76R/pxhpZJ/CesQibA9i49eQ0oCheD4mcSeoBPIqZMc0DQl4c6Yaxvvwj4eNB+Nm1ikLvSmHdoaeLVIZZeQxh8UQZXFz0rKUEB+/nAgEokg4i4mjF0MSti7qIv4btjb/vnPf8Hvf/97EQDfw9SpU3UlJppnSZJxH5YhFHvWz3z2c/j0pz8Drzenk1tD8cJPNW5Dxk8sv/wEK4coe/ftx+uvL8G//v0sHn/qWTz/ymtYt2ET/IEw9zYgkBWAz211FNbQQu5jhNddSlRenMdrEEG//8ABfebpcdwawHtfZH5vX00NWlpb0ebzo47L5zHCTIXnhHWIRNiexUevIWWB0iXIqZMcYGZphumDjZyImFu9lfFgQzx/EagP48ZJCt7En0Oh5J83ZxZOP+1koVP07U8vv8InTnjgsDkusEM8sWDsYlDC3kVddO1GD/MRjeXzn/88ckSb+PY3v4Gq4cN0f4XC4T4W8cJl3Gs+ejUmHTEJd8oQw5PrtcK2ubNTvF5UZbLDLBkyfmL55cVUVNpTI2Xq8iVvTisrwafGD8UXx1bh5nEj8eXRI3BN9VAsKC5DQMqLHxfn+bvq3xZmd8hZFvoyX4RYR+1kt7PbB233sdylTAnqhxJhe9Y620tIr0Ahp06KQNIuGRgxNomM4Y7QdEfMeeXW+06I4c8O9WHcOCkeGE/EDY/fO/PU0/CJa6/BdR+/BvNFvVYrOok4iyLiJyaMXQxK2LuoiwRuIsQ9FMveXo6bv3QLJkychHvvvRezZx2J1uYWSQx7azqztg0aollrUzOOO24R7v3uvfjb3/+uKrmuLdnyIhaZ8ollHs+uKzJ+Yvllo6EQ8Yhk8COI6txcfOeIsTh7SCWWSvp+vG4r7t6wHfds2IFvrt+O323aiZpACz42qgp3TZ2Eo/K9aNOxFD8ST60luTx1kr0sckR7y/XmdaAcxzUW5cUwc1JX/p1EPhLXo8g1QuK619CnGoqmTcxYnl254+CSexuMO706EcufDSaumBQP2hp4tYh7ZHTORv6c854d0FW4tvCclLB3URcJ3ERI24hQTl6ubgy86aabcODgHtx442fw05/8CBddeAEmjx+H8tISjB5RhdNPOQnfvfc7+PKXv4z16zfhlltvw6H6Ois81opIuKmS4SOWXVdk/MTyy6Mv20TL8KMVP5wyBRXZwB0rN+Kve3fhYKtPhKkXuR43ckRT8/IFQ7nf2NKKX+3ahdtWv4d6GXbcO3Mcjs/z6qpRsnnqJLs/T7ZHN1naiXOL9mt3KRX/5MPOY0wibM+d6m8a0WcaCisKXwLLDvmsgYbai+AIB+EOdpwcnZOfg3unjMf3pozDbZMm6Lb2TnCE74T6MG6EWClDjJnDFbnXb6XowSw2MB6bH6U4cEuP5xb/fClOAkVAHLupgjlZdYZno8Q9C10kcBODeOFnTLdu242f/vR+fPqz1+NfTzyFXXv36s7bgw31eOHVV3HTzV/GD3/4A+zavRvZHr6qL7GJ5+5oGIa669/4sfvlPc+NFgmBEa4WfG32eNy6eiPebGhD0MucEeEh1sZ9R+LXEqWMpWq91xLCV5ZvwsZAE348fwaGimjiMbwhVv+YfmOTvSxaRWBxmGinZsdzLPOu3Bi7ZMJpJ9FAbTzGJML27Kyi6UR6BQo5dZIDfLvlHz8sx6M/KsUTPy/BpNE8X4KN0gJ7gWJ3FibnuTA1zw21tqpNR8QJ30Dz0cZHbtUwjP/K5zDh1usw4eaP6cfIOX3XAdoaeLVRPIgWdftnhuLR7w/BP74/CF/+eLnUYVZQZ5jxKV5PyRfTXBFSOOxTIb5LxfBaWltQ39CAmgMH0HCoDi0NjSoGpZNDtlQDHuQcdnn1NQc9ZSxGWMmQymSHWTJk/Nj96hxD2I2jRCU5sWI47lq2G22uoGQ9RV+7u65J/on7UHYQu9pc+NySlRhbVow7JlUjhyXQyX18speXeeHR/rNcdP7FM7f/6Ma4SyWcWKtEnYiwPTOk3kKfaSgGQb6XGmyAJ+iDSyiL29LYEA3C2eLNpb0LK5M7JNVdNAEeytwBccI30Hy08eGXhhWQ7sonV59LwpPmRK2lA/hs86MUB35x6smqk3BahUTtDnF7XQzB5wzPRrG0D+4pmTplKo4+eiGqq0dLHkiYDjeJSJubCEz+skIhPc5wWLYL8wty8dHhQ3D3hGr8YvYU0QBn4KZxE/CJsZX4dPVQ3DFhGH4yZwq+JdrhJcMHY4Q3Ww+eJk9ZUhYMj39dkcpkh1kyZPxE/cq/YMiLD1UVIeAL4v/tqkPILXVGh6AxyikhZUn588aF12tb8PW16/HFSaNxenEJwgHWP3YvYt/BT0eyl1esskuGupM3XVFSfBC2Z/HRa+hzDcVCxMLYm0QrLI/OfOiELsOP+DFuSJFANLx4/rQ18GqjeBA7zq9oeHw02oQT9rAcpL4dZgyHL829/MrL2LRpkxjQsKObrkg1r6AfR+QX4OrKIbjliAm4cfwYjCoswJq6Jty3ZQ++uH4rPrV0PW58ZzW+uWETfrhlJ360eRfufncrPv/2Cnxx7Sb8cct+VIqmeMuMcfjEqCpU5EqT43JJjDjtpG3dYZYMGT+8Msn+YBi3jqvEkv21eL1BGnusskmRGC6vGpc7F3eu247ljbX45qzRmFGYJ3Fap+c5/Rmyl1essuOyMesEtRe+mmLOk+WXAvVe7KpGVGHQ4DJ9prme0SxX1iGamWeGxTCCSpY2FAgEMHLUyA5xxuKjExG2Z8bVW0ivQOkCrA+caFcJ3SW6dtBpd26P0LOs5e7IrsDQrRfl5C6JqNiB8pgH6jmsKPwlTq1UXMmTFhEic4oKcOuEsbhxwmjke9z41fad+Pq76/GtjVvwRm0dmtxuZHtdyGWobhk6iG8S4+X3fVg4WaJv8Z1rrzcLS1p8uGv1Fty3aTvmlZbgq5NH4thiaXhtbDgU+umvPpyTyhVh8v3p4yXendggwxSXvmGfXlCb9MiQb2/QhZtWbIBHhOddR4zD+ZWDUCH5RI3TxZn4JEBBMffI2bjqQ1fi+OOOxTlnnYUrL79UD2s64bhFOHHxsTiF5zDPnImC3DwsmDsPZ552Gk4/5RScdcbpuOrKD+k9zebPmY3PfPKT+O637sFpp5yMSy++COd94BxMmzwFN93wBWzbskU1xv6K9NYIptNJCZG4ydihqy56E6E40FCNG5s7bUTRZ0fc7Lrsfmz+OkHs2KQ0PMukA8jn2WefjQvOOhvnn30OKoZUdAxX/XeMj4LktKqRol3k4tjBFZhUVoYABajNTTuJuOHV58cXqqtwy/iRaAj5cPe6Dfjhhp1YVl+HHI8X2SL0uMlL/Qiiso3/4hERuZeBp0gXNx7fW4OviXDa5Q/jxsmVuHnSWFRJYKFAUIax7TwyfM3fGNTVci398HT/K4aNwGVjRuGL0shrXfwWjVjY3KWNiMg1W4TJ8tpWfPm9TXhh/yFMKPZicskgBHnStM1PvCEP78sryrF27Vrd9Ll//35s3rwVVcOHa+PnBsF9+/Zh0+bNerbN3r37sHz5cix5awk2btyEweWDsXPnDv3CIJ83CT3//AvIz8sX813YunUrduzYgUce+RvmzZtvdaox+IhLhO1ZfPQa0itQyKmTImBd4ioPrx1hUpwiHOE7oaEaNzZ3mqfx/Glr4NVGDtDI6tElHLlqeGrTEdw787FrLsdHr/4Qrr3mKoyoHCbxiicTLv3Tp+05JKXx0p592OoL4K1Dtdh06JDkGTWHdjc6tyR9a4405LunjMUHq8pxvwxjfrhxN9Y3+uEVzcRikCtQ7f66S2TZAr+659Xl2B9s2I8fr92M0sIcfGnCGPxs+kScVloIT1hUd78IsFAWvKKaeUXTYAULiDakR0OqFsSPdPFZUi9hU9Nxh1pwVfUg3Dl1LJ6t2Y3fbN0GVzZX4ZJYEk0DsVEy7/Mkz2olX1+tbcGqhgYx7Vg+9vJylt2TTz2FJW+/jf88/zxef+stvPrG63hF6L8vviTmy7FyzRrUSZi7RbAsE2HC66HGBqzbsB4/v+8+rBZhtH3XTjX797PP6jEPf//nY3jl9dewQobAh8Qv7d9c8laHeJ18xCTC9iw+eg3pFSjk1EkJYVKcIhKEr6HG4EPzNJ4/reG82sgBY6QHS/MaoVgIicTRsbQQfTp7bmfvwqXMtlBAe2qO50MhEQ5hUoRnidOX5cd1Y8txxYjhuGPtRvx1nwxl6FdavvIRCas3ySPMcIJzbX0rvrVlK65f8S5eqm/G+Pw8XDu6Aj+YNQE/nz8Nt00dhY9WVeCCknIcVZiPqbnZmJafjeMKC/DhiiH4zvRJ+Im4Pa5iMB7cdhB3v7Mde/kiFhMSI97DTfbycpYdn2P9eAzFIZ7mLz/C+t/un69P8PQ3e5halkK0o5n1E0Tc82pIbWzPMYmwPRseegPpFSjk1EkJYVKcHKJzKAnC11CNG5s7zdPosyPuJDQUmvEUNvYMZEXDs2ziQ8PlhF/H8GP1LvoCm0Blm/TkuhOL9yEvhuW04GezpuD+DVvxa1GbdcDFSpfFl+AifvuAyFtA0sKr7u9xZaFZNKl3W/341a69uGHFe7huySp8Zd0e/Fqe/3ngAN7e34gNjc14r74Nrx1sxO9kWPDFVRvweXH73MFm6AkvIlG5W0gjicTVn8heXklpBjFI614CSsaNoaT4IGzP4qPXMOA0lF6bQ5FSpNahbV79xM9540vDilAysMJtp4S9i7pw6crNuRW5OKp0KD69fCNCnjzlNaafPiJnWuzmKnCFPel7EczyyL0LbfxigTsHbZ5sBLnDM0RhaQlC489+7Y9kL6+EZReHkklfKnmQFB+E7ZlZ3lsYcBpKFAnC11Bj8KF56vDHvQ0+Ga4HA23wBwJoDQZ0+OF0R7CwaUdoWBHqEtr4OachV4YZoYS9i9gzrqtGVmFjcyP+ul/G9S4e4JOeZdSekOZNDDJ5RkHBWzMHpBVNeI7OS4gJ55n0Vv6Z8OKF2x8oo6EkRj/UUJzPcZAgfEtyR3LP5o6haw9gAx89gTD+b94M/E3G/o/Pm4KZZeYU/478MEgzLNGwItQltPFzDkWuDDNCCXsXsedw4rFd27G8Nay9OicxY7rtY9I8jEGRpHYyZ9JDOpzhubgiEMWAgpENgt/zMXkTL9z+QPbySkoziEHJpC+VPEiKD8L2LD56De9LDYXDIi7Vm01BwbC1MUjtSA5/fAyF3SiRmyKSS3pPZk0c1oz/SH8bz5kDwgH92Shh76IugqgPucEPdLLy6BRSPyaVdw4zEi/cGNfa6kJTSwhNbUH4AjkiWySng/xSgOS3OIrlt7+QvbwSlp2Q2dhm/WedtLQ1Ep9ZN7mJze7HTnb38SgZPhS25+Tqa/fQDzWUJNFV+NLqLjrvHPzu178Sug83X39jZKUlkqdx/GmQ4oBf8qMmYIkLB8TIbQUlbjiJmEQKtJVxPwivfLYoXu9SKAKtTHjIdcuzY1a/vxPz1iPSPAS+NpEFv68NJ8z14pe3V+I71xfgUxd6cfVZObj2nGzcfk0Yv/36CFx0mgdZQRnO8WVNfd0idr70HnEqmK9msCT5CkXs+O3lFa/sDHHl/ht33YV//uNv+JfQY39/BI/97SFku3iqYBhHTBiPfz36d7UfU10d9aMr/iJopk6eJHX4PDHuOp5EfCgRtmfx0WtIr0Ahp05KCJPi5JDsKk9+fi4GDSpVKi4qiphG8jTqL3bcXXFkj5I7ZTU86zEhNF4bxepd6KaqoAQTSypQXVSqQsvppr8TV7OmVTXjvjtH4CNn5OGlpT586u5tuPXH9Xjgn0E8+J8s/P4p4Jv/58fH7tiGR5+tw2nzi/C7O8di3JA60cn6Ns3UIESa4KrTglg0XeoKBVsMd/bySqgZCL56x1dx3nkXKV166aVYsXKVfp+osLAI5557jtB5uOD8i7F16zb1w3rEju/hh/+Kwvx85Hj5OVuBM2wbZTSUTjApTg7JrvKwmijpsmv728yap1F/qcVNsMGbj3dRg9HwrMf4YITCR6I5lEGDsjCtuhCNuYfQIA3roKfZ+kKizU1/JC4hM5vd2SFccoIH3/viEOw9EMA1d2zH/3uWw06q79I4dIlb3GYFpOIx7yQHRSsIhHLx1JIwPnz7erS0ufGrr1fjmJk+5MlQj3t5rAltawbGGXfyZMUopQceXYFAtq6eVZaF8Y1PluCzl+fh/z3ejJdXtokrqS8xwkhFQyGvFoUlniA+9alP4qtf+7qw4caPf/R9fP/739f3dfziggPyyJ+0SBfOv/hS7Ny+W57VpEO4TspoKJ1gUpwikg6/IzRPu+EvFlhBTTklg0QaSmF+AVql4XDOp67ej+bWAHiEod1NfyPmQZ4niI+fn4cvXDEYf/53Ha7/jgjDljwdrakbhx8nWccZyq0Il32H8nHtHTulN/fj1s+V4eNnuTGkTIRBK8d/XGru7L8r4soa59NCARmGtfpQlh/CtAlBfOJSD350yzARKD7c/MND+NmDLdLYc8VPxzKxk728ktIMIpSbm4NhlcP00e/3oaSkWA8Af/ihB/ELES4c4tjDs7RweTaImMeipPggbM+2kNOOAaehKLJErod4+hYPI3Yj6OYnWZMLR/M0Kb7iQPz21hzKtu2N2Li5GXtqXNi5KwtNjQw/hLFjPAj5ObdgHb5s93O4iNvo2wJ+XHdWDq6/dBB+8dc63PvbOri8RdIgOA8hVSuGv3ikZSLEM1fhCqIxVICv/OQAfvG3FhmGuPDVz+XgE+eVYu4RbhTkB+Br9qG1KQxfaxj8LlhTSxv8QtmukAigMKaMduP4I7NwxWm5+MIlBbj1Yx587fphOGVxCfbXh/H939fjC/fswfKNOcjJYQmK8OZW/wgfsSgVDcUQ52YuPO9cfOm2OyTPROMKhmUIXohf//q3uPiSK3DPt76DW2/9cofw+IqK/VO89vCc9P7WUNICkwOxQend0urF9Ze78fkrPLj+ymzkRdTi1NF1XLFgLwxuke5dSHWRdO3f04pbrnPB75aGykp/2CDplb8WXwAXn5iPu64ZhP97th73/v4gct15Ypd6fnYFDlJ4WPbDLwXx1Z/68LO/HsSh1hBOmpWPz15ZKEIiH7d+tAC3XJOPL101BNddVo5zFudhytgcuEXqb9gSxkNP1eLbf9iPr//aj7t+dhAPPdGC3ftcyM/LlvKLRNSLYJZceeUVaGtt1brDE/P47SGfzweP3O/as1sPQOf+p/cD0itQNMccFAEzNvbxBalVQl0SlmHACXPCOG2uW8gF6b915jwZ0JWq4Aobg0mC/nURIuJVw7NuE0L92Cihuir27KnqZfjw8BP1OP8EtzYCZzh9QSF3CwIBF449EvjBDeV4aUkbbvvdIbT5ODfigV+GPRwAcq6jO/wZP3a/vOfbLC4Z6niyQ/pBdQqJx1714xeP+HDvH1tEWDTje79vxo//XIcH/t6AR57z4fmlfqzaGMaOWq7Z5MqQIw85/Ba7CBkzvDJxpEL28kpqqCGUm+3G88+/FD371Zvt0k9/eDzULUIYOmQIli9fiTyx58fz1Z/CVqts4TkpKT4I27Mt5LRjYA55FN3zp3maFF8JIGEwmEgZJQWN10YJ1VV1wRfHAti0OxcNe1swf7KMt3UpWRw43aeVwsIv+ZMqKxJ0vvT693+tHBvWt+FLP6rBvjogjx9Kc/hjGp3pTIaMn+T8Wm8xu+WfIQpaLQfNF5Jxmz6yl1fCsovQgvkL8OCDf40+098XvnCjftP517++D3fdeRe+970f6kHbr7/2CgJ+S1NxS6KiR4DawnNSUnwQtudIqL0Clkv6QE6dFAHrZrqOL+BavZnHSBWap5146AYiYWh41m1COHvGhL2LupBGK60sK+TF0+/kYEglcNTYNgSyvJZgieUvDeQJufTYgWOmuvDLr1Vg085mXHf3buxulOGEh8d0xuZdZZDDLBkyfrrjt6/InuaEZRehl15+Cdu3b48+a/pEUJx97vm45tpP4eOf+KQoeC60+n044aSTVZOhJr991278v78+LF66jicpPgjbs/joNaRXoJBTJyWESXHfQPM0Kb4SQMKwlVFScPa+CXsXdWG5CXpa9UNjj/43jJHDC3HmbJ9+6Y81lB1yJ78pkQwrqInIPScNvZ4Qzjo+jJ/cOBxvv9eGj399P/a35snQUqpLxE88TYLm8ey6IuOnO377iuzllZRmIMQ5P121Mc8k+fFYAx6+FOtby6nkQVJ8ELZn8dFr6DMNJT5MivsGmqdJ8ZUAEoatjJKCs/dN2LuoC8sNV7NCUvl4vPaDLzehoTmET1+ag1CgSd118ps08X0hPxpFkAyr8ODzlxbghitK8NjzLfj8d2rQHMiGJ4tzVIy/3Z8zLXbzeHZdkfHTHb99RfbySlh2EWKeJZNvdkolD5Lig7A9i49eQ59qKI7HCEyKkwfD4d6k7kDzNDYjqUHCYI9uyikZOHuehL2Luujoho0/O+jFa++68PvHDuFbN4zGxOEhGXtzWZpuZCzIGmnzY0h7RyE+0g1fL2hr9uPYabm491OlmD85hG/+oR7f+U2r7sngZGhXYcUzj2fXFRk/3fHbV2Qvi6Q0gxiUTPpSyYOk+CBsz+Kj19BnGgoziZJaM6sDnAY2T3Fg6nh3QH/032NIGLriIrfJ8qLx2ihh76IuOrphBQrzTAO5NrXl4qbv75MhkAffvrEEwwe1wu+3zh8x7u3Ei/Ls47d4mvHZK3Jx+8dLsa/Why/+fB/++WIWinJcCLn94ljisflNlrRsHGbJkPHTHb99RfaySEoziEHpTl9SfBC2Z/HRa+hlDcX6Fk6+XN1Zbv2wUpuoz/BUwOV16xfzecxhdk4W+KFvErzMIn7kygtxgEB2FlrCbQi7+bqZeHW7EA60iVUh3DkeIXETauS0uMQh/nmuiWQaZ8i9uV54vfn6yUYuNXPc6hV3XrcH/qxmaVX58EgYPES4DcKXi3sTvOIuWwRfQO1ycvIknFx4JKfcoSCyPDIEYFxsme584T1XyKtpC4lfl0hMt6guwVALPGHxJ/x6smW8LHEn2npvXSgMrBlnnsuup7zZ3DiJq5H/XZKFW79/AEPL8/C9m4tx4xWFmDTCh1BbC/zNbfq1f7+vUQRPAB/9YAF+cmsFTlzgxW8fasE9v2/C+u3ZKJC0WJvAO6/cpEJkVzuNFMn46Y7fvqK+0lBSof6moZiwo9fFixe7ampqXE1NTa6SkhJpG2Fvfn6+V657Im46gTPRecWDI0/CszQcXVOXxlFWXIJ8afTBAA8ptt5C5XJkwNOqbt3BXGk0fNfGpFyEDxNNdcbrRdAdQC7PV5VYsqUxV5SXY8fefeoOrib1lh0ogE8Ejkf88KxTbrf2hCPv75guQRqpVwQFsrldyjIXGYchw8uwc9dB8UtehDfhsUmcUXh4HZvlgsInPzqmAksCyRHBEuA+M+69COXDC5/YeTQ/+KWVHAod4YXfWuFeiFWrVmk4PBk9JydH8yj6bpKAHzabN7MC+w/uQ/ngfGzffAieoips27Yr4qIdnOiz/LbzqHtAREPJ9waRn9eCMcPCEk6hmPuxf78HO3YGsZ+rNy2WcKaQa4eIcWGXvFpbv9MH8uniCfIOmLR3Jz76tftjh8HnnvDu5DNWeNIW9Crto1txMcXd57AzyHNBQUHkKQ4ckVKo8fFQ7b7vSBrYEJsknEa5l54Z9ZIHDZKfDXJtErPmQCDQ6vV62+rr632S7oDEF6qoqAi98MIL7PmsQoxcTTTRa48ESiRoJtISKEBZaSmaGht1J6CJmTDFZvXF8UHGSAyT3+sdMmQIdu/cqXax/Kpb69YBckndJ/LE8ERzGVE1Alu3bVUzE178MBIjGr4QeWalY9qnTZ+un1kgjEBpFc2BDcGAeeL1ilaUHRDzIAJ+EaBDR2LbTou/WIjRTIU6cKHvskyfOR1rVlKgGXvLLlWQ3+mSltWrV/e48R5zzDF49dVXIyY9Q65okQ0NDcgWrbe7YG50lSNMb16efhsXzc16Cm6/gBFyycLUmd4QKKaLitbA0aNHZ0lmZfn9/iwpJMYtIxPR2YGb1EUM0HN2jiTK1FOBMKH3rW2t0lvmIb9QpKg88wUwNuTSkmLpDUPwB/1WxTR+HUQhMGrESFRWVsrQIRu5ebk6D1AlgqDV12bFQzj8xSKt/0L8+ho1HS+HWAK+sDV69Bg0tTRL47fmD5x+ExH5HF41HMWFhRgxokrC9mLkyJEYNGiQ9CD5onUcQFtbm7plL8g80LiISBi8ME94BKVP1KCAaFyt4sfnF38E45GGqAfv8FEygn46ot3ELfEwb+naJ3nlk7A0r7sB8kxhwvhbW1usreM6lKRGQxfJh0s/BHmpqzuk/kOUehGz1MAv6lnh6btV4t8efiIwPZE7TR8rF6/0q/4ZhCEBd+vy3id1xm7v9oi2KnXR+vibhMlgI34MHxpT1Cxy30NivWNdi2UXJcLxzEtra9MrwhsbECuiT+75Ulwbr5IvfPaTJD8C0gkGpf4GRS6EJL6wCJXw1q1bTeZFkV6B0l420R1/rPRjx42TxjVKM9zFORCpPB4pmJmzZmHrlq3RDI8Fuh1SOVSHDPzgt8ftkWsb9h84gNHVo/WjStF4kwALYEjFEOTm5yFHwgxI5WuS3qamZj8mTZqkH2SK1UyTQaloY/n5BfqBcvLozc1BXUM98sSsUXpPXxvLi3VWBIqkg8PA9gptJUOfONTi0Ep4G1U9Cqeecqq4DaBABHNOthcnnXAihg+v0k+VZklDN/46kCThmEWLRHiOwuCyUuTl5IopMG3aNEyePBkbN24UN9TaYviNQYXFRZg9ew4qhw3D0Mph0kEUYujQoZgiYW3fsRNBSUcsf04qKCrEnLnz9P0V0YRRNngQKoYMxQzRephHTaK1xfIXi0S8Ydiw4Tj/vHOxffsOTJoyVRvq6aedjiLhd/tOa6gYyy+JRyPMPHIW8mTIUFpWhoULF8IvQnfyEZMwUjqxLVu2iCBtHxaynnLYTZj6bXDJBz+IsVIfRRpJB5qL0WPGaH3l2Q0lxcUYK888lydbyr1K8pBvlvOjXz0F62qqWpnRUHpDoJiWE72me8jTYyTTtjslKwEiYbItd5BlqYbjRCJeI+HHG/I4wSZKt9RsvKINcFI5FAyqhsI5JQrneDxLRdDDfPReiJXIJWGxF6cWxEoYP+bO4NyKJTIsWN+MkeiFfxc/LpYw8RZUMyNfwgcnt7MkTX7RyLK4yYtaUMRdMmAa6cfX0qqaq4/HKZJFaijkr4v8UQjLFBDkh2ExjSo+xJxaDzViu3e6iTXkobm0G6xc/jamTp0qZebBlm3bVODnivaQL50XNWAKp3A4KBproWpRr73+RpfsJYv+NOQxtSB6Te+kbM9BLpOrqqnD5ERvhR8PRqA4J2UHEuKVS3fz1IQXL9z+AtN4pX2oIDGgMDLDQoJ2fCa0jPWPc3giuMQN39Wx+7cjlTxg2NLAI09x4AiwNydljbBKDxhkmindy2x20ox1mPUl6dAqhvlAoHj51t08NX4OZ3kkInt5OcuO2iPNeCXZt9TTXAUMtSa5qmYmP7t/O6WSB12FEyXC9iw+eg3pFSjktANJ8D0ka5NW7xDD7s3w45NkjvzpmlNM+/5P8fKtu3lq/Bye8kiOdMgXqdv2+1SIc1uxzO2UjBtDSfFB2J4pV3oL9uj0mq45FFK65dX7Bda5qlxNiBhkMCBgyo2QYYBe+wM4L5UKTKscMHMo/5NgdppczCCD/gRH3eSQio8DamNbf9n4w/EsVwA4k8+9E/0B7FF0laelVZeG+wO4eiEVSMuN5dcfUFhYqLxw8tpMdmbQGQX51h6vZNGbGkp6xyRMlJDOZnPTVRqIG41imSdLmsIIX53teh5+dyiaT1ShY9gfDrKPxWPZOylevnU3T40fu99UeRoIlEzepJJ/ph6ZfIpJhO3ZSIDeQHoFCjnVtEW4tpGm2UaJzI0d35lxunU+O82TJYZNcoaTTooVryFnPsXy6zQz5k4/djMnJeUmwks8nuxmpHj5Zs9Tpx+S3a3T3H7tYOfgKWreDYoVTl9SMjykwme8vOlAhO1ZfPQaek1DMfdRM1Fd7UYE1f2wEPsibtji1dr6zl2M3Acp4Yi/6Nfz5KpuI8+8N+GpNd3bDboghhHU8NqNKfBDujlKwme8HI7IvZ5uz2FANA3WvdVBWGaWXUd+1FsXPNnt9N4WB0Ez/Ym6H3Gmz+Z7uJoGbvcWc5MnvLLnojs+8xpZVIo+64OD7O7tZrwlT8ac4et2+4hdPNK0OAw1FDEPRsq4g53j2sEuEre5Jw+q3YkR44l01J3IykvxS/6VZ5vlYaJY6esJ2fMmLhG2Z/HRa+idrfcC+9bkExYfp898GeyIIyahsnKYCpD5c+eKbRbGjRuHUaNGYujQSpx26ilobGzEpAkTrTeLd+zAF2+6QRtOTk4ujjxyNsoHDdIt+9xGPm3aVN2BeOSRs3DRBRfgxRde1GcDGQNa75wEpSEIGfzge9/FqJGjcOgQ3yXJwkknnYT33luvH2WaPn0Gxo8fr+/knHXW2Xj77WXK+7Bhlermi1/8Inbv3gXJK7S1+VBVNRw7d+7CokXHYs6c2aiursaYMWPkOhrbt23TRmSHc+s9M5nvK5WVluDmm7+EoqIinfMZVFqG445dhPXr1+tLkXw3KCDmZ51xBpoam6QnC+Pss8/Ghg0bcO3HP4aGhkbMnD4d48eNxcKjF2L1qlUYLnk9f/58fXlu7uw5uPyyy/DC88+rkLRzxR2jzAcZL2s5skxPkTzh/MUJJxxPSYKJEydih6Tn4osuwvDhlVpefFGQ/MqYWtNeUVGOCRMm4FQpx7zcPIysGqFbzadOmYJNGzdhzOhqXH/99RrHls2bNU4iWgEjV8JsKTf5RLuLL7xQeNiOcZK/zOPLL79Mt90PHjwYM2fOEL6GYdKkifrM1zIuuOA8lJdXqDvm6YGDBzptm+9L2NOXDlBD0bJLIWSjRfTG1vte11BYXw7VHsKJJx4vjXC3NIoRUuATVIiwMVZWDpXGUqGFfdJJJ8Lv8yPbzYoUhlcq1EUXXoCNUhHnzJ6NwsIClJWVSpgubSCsvMOHD8fFF1+gkS1ZsgRz583FCIlDEeHBSezBX3zxJezbt1crIL8zO23aFKm0IcnkNhEMxyivbCSsyJQHW7ZsxowZMyT+Mm3A48aO04rKr8BNkcaSne1RwcVGzQnOkpISrFu3TgXljBnTY35lP5pPfJSMuvCii3HgQI1qAPQ3deoUzRduvT/jjNMlfLe+h8NGXy4N5txzP4BVq1aq4KOgqxY/5eWDNCy3W6qYXOl/szRc5jMb3JYtmzTPZs2aEZMXO098e/f000/T934mThwvaR4jpmHJgxIRNG0i7Ldj2bKlmCd5TqHDCd2mpiYtm71796qwX7jwaP12Lxs333WaK50I+Z8wQQR2VRVmzZ5laaqGj8jVTnbempqaRbAPk/w4Q+Jr0g7n7LPPwplnniF5d0DjkcouZTI5shMZWL58OZ599lnJm8FSN0Z2Cr8vKVb6ekLR8uqKCNuz+Og12KPTa7pWeexb7/kchajv7FUf/dc/dQWGoD0rv3GnGoXcs2HRiG/Ncpafblj5OKvNRsYt7GwwBH2Ktd7QHYngygUrON0Zt4QODZTzMIoKi7XxvvHmG2rGuGhOTYLuyGeJaA+1B2utyTD5kQ+9k3i8OTkiCH3ao5Ivgmkhf/RPnuzv3Zit9/Z3eRgfX4QkaDZ37hxs2boVBw8eVD604kT8m3uGyXdOom8Vcygg8TIcrmyxJy4uLtaX0Ghu8pDEZ+aNAfOIz/bXAcyViMbJstA4ZCjINEke8AXBd955R8M39uYjaCYeszWdb+u2idAWJiwtKWIfC2abu/OdJ94rbxKF+m1nU2HK1uKFQ1bJP/LcRVwDGezATH1PBiYHBsw+FBY4K0EscMKO0OqRfB50G6xAsQQKYXKiD9jogP74Lg/5IV89Xe7vbp7SH/2YK2EESn/Kp57Cnr50gPnCfOpSoDgi1Qlqufb/ZeMkwIPYSMnmquE2g/6FTLn0HgZy3qZXoDAnhKhumvueUm8u9amkdpj1JaUzn3pKhpdkeYqXb93NU+Mnlt/+lE89pWTyJpX8SypvCNuz+Og1pFegkFNNX4TrNFC6J7HsxLB7M/xElM586ikZXpLlKV6+dTdPjZ9YfvtTPvWUksmbVPIvqbwhbM/io9eQ0VAcZn1J/annNbwky1O8fOtunho/sfzaeeISafWoamsCW/44YW63N+bKh/zMUQIlxSV6Ul/UPvIz/ux0xKQjrC0Gcm934/TD5ezp06ZHwyTleHNQVloWfTbE46gmjJ/AGWN91gUJ3tr8kkz+kQfatfMbsY/8ou5t93GJsD1rWL2E9O5D4Q3TF27ffJUsUdLqxFLkWWfquUGLRhEzOxl7p7mT6Ibfi+VEMcluZ3qCWOGTnDxlSZyKGPFyYpqZxUe5jenGECeKuZLlPFM2FbKSIjHqttTYbnghT2THaecknolKvnTiOoa9nZgvLGNn/mv2MFMl0mTzNGpOI9uVZub8VpNP9Hvc4uN02X7K1CkYNmQoZs6Yrie+8b2fhQsWyPNMPW+EWwxyc3JwwvGLMXzYMAwqK5PG7sWokSPFzQxp0Fm6zL5rz+4O/OTl52Hn9h1YeNRROHLWTN2EN3/ePHXLPUC8HrXgKD0TeaPwMfmIIzBr5iwNr7S4WPlqbmlBXX1dNEzyPWnCeKxcsQITJ0zQvVZVw4eLgBmvz6UlJagcah2Dya0LFeWDsWb1Gpx80ok4+qij9Uxmxn3mGaeDp8HNFL42bNygfDNs5lOsPI0S4XjmZeCcKStIevMQ/QidcPxx2Lxlm0rw2UfOwoc//CG4pWexnznL/+w5pk2djKuu+hC82V7dY6FSOg7oN9bGNoK+YvlkeKx83PuyY8dO7V24NPuJT1yL2bOPxIrlK6RBW4mlf27aWnzcsbr0zD0p48aNxcZNmy0BFgPOjW2pgBVudHU1PvGxq6QnLMK699ZLGk0xtoN8DR82FDzjlntDEsG5sS0esiUvLzjvPJxz1llobW7Brt27NL+4CfGqD1+OhUfPx7tr18LX1rH8mc683FyMqR6NgwdrI6btMOVgL4/OG9uysHvXbt0LVFhQqJsSebYwVzl2iBDYX1Oj+4eY3hq551GL3IOSKw2S9hRMPJYxEJTwJFweAF5b25EX7oOaMnUqtm3bpmfc1tc3oGb/fl2+Z9iMk0vgGzZu1HC43+gdSe+e3Xs0r7kP5tChug4vopLvJglrnAgQ5vGePXuxfv0GXVFbuXKl7p8hvwx3y9Zt+jxx0iRN27vvvqvPPDuYq108u5d1vrGhUcPirz9tbHOWY68vG9vBynvFpZfojtNQ0I9vf/9HmDBmDC688HzcdtvtuO66a7VBv8xPLUjmsTMeP34cLv7ghbqjlDs2iaf/85xeY6E7y8Zhfxif+/ynMGzoENz8la/xc1t4+ul/45RTTtMT7O+77xe45LLL4c3JVZ5Y8bmxjeBmq9/+9je48iNX6zJsLPRk2bhcGtPX77wdH/7QNboB75iFR+Fnv/qNpKFdeHEHLQX6M08/gTvv+RZekfxLVOGSXTYuKSzSctu7dw/uvfc7uP/+X0tD26ub915/4zXdlPjMs0/hrDPPRcjsERB87GPXYPTI4fjv8y/iv8+9YBnaQJfk0FyJWMvGFAps9NQkFJEoWN94Lm1xcRHapGHGSi3DYN2MVy4G0ohUA852ZUu9DFirkgJ2TCpwI2CcDMsIPq2jQmaPkh2MOyhheSV/3FJX+GkVuuDwprGxAXl5+cjSs3k75kEiMNz+tGxsctZE1+caysEDB/H3v/8DJ52wGC+9+jpOPvEk/OlP/w9uGYsuW7ZMNJGr8OKLL2uGMR4ReHhOKmRLcyveeWctbrjx83jyyWeswGKA/pLVUMwzd2LyRPfq6hF48qmnUT6oFJul59i0aQt8IpTmzJmFt95aKgLKSiPPCPX7g/p81pmn4u+P/RO1Bw+pXSz0REM5QlTsTdI77tpTozx95ZZb8NeHH+6QDoZ/3bUfx49/9CMUl5RKb7ujg30sJKuhsOdlY8j15kuvvFs3/O3dVyO0VxqWF1mSrvnz5uCFF15SdwSFOl8fWPPOOxgimsxGyUcnDH92Pp0aivzDdR//OOYceSSKiwqRl5OH445bhPXr1uOHP/yBCNkrVPtZKMME7pTlhrsW0aKGlFfgnA98AOee8wGcftpp+noG5yZi5Qk37E0TLXPh0Ufhissv0fSecfoZGFY5FKeecooOUdpEkFDTuvKKyzBv7jyMGzNWd+FWjxplvdog9dOqr+0xlJcNkqHOqbp7+HzR8DaLpnS2aHncTX3DDdfrTubjFh2rmza5ETGZDplgHP9TW++7Iu605GcreGCvwb/++S/86v5fomJQMX4t15///BftY3XBo48+iltuuRmDB5fipz/9Me64/c5O4SZL4QiZZ+sSlp73W/j1rx+QJwsLRQt49bXXNLc4unjvvfcwvGqYejBh8GW1ppYmnHfuuVizZq0JrEtKNp/stGzpElxzzUdROaQM37jzDtz8pS93sGeYxTK+p9rf0NDEGASJ4zG8JOKJaW0SLczlCuGOr96G1TLWJ/hVSMZ5xIRxUqb75V46u4gf9vb1ovLzHSvmrzG3kykHe3lE7SJ+2Alv37ZdXy8oKizQIeaC+QvEEfC3R/6G3/zmNygSQTNmzGjduTxBtFnOcZxxxmmiBVdL430XW7duEbkUwtFHLcBll14aM70Vgwdj5IgqHY7wnSTGRcERDPhkaDdI5zUoQHbt2oW33nxDXyWhAOLcDIUsh7+Lj1+Mgsi3qJh+hsMP3nFIvHbtOzJMPgLbt29VAc53j2prD+hnXE45+UQtPydP8ShReSkRtmfx0WuwR6fX3th6T2gEYl4+uEKlN/Uujht539LSiq/e/mXc890foKyoGN/77r24+55v4nOf+yx+/OMfyLiS31cJy/DCJZmdjx/96If46lfvxCc+8XHc/+tfSY+3naHHRFdDHpG0KCkqUh74QmKLCIQf//iH+OxnbtTx7I9+8h184fqb8aEPX46/PvgIfBE19ZIPXoC3V6ySCrreCkjAs1AXzp8jAseNV0XT6gpmyMNeiCp4VygVDcMrPRDzi+Nzr9eN//u/3+GWW+/ABRecjzdefw2vvPyGNGgrnICvFX/4wx/wkQ9fg4ohgzB58qQIP/ZBUWcwj5hXiYZh5Jc9Kxsc572u/NBVCEhvz4+mnXP2WZgt2kPN/hp8//s/1LywY/ToUZg0fiyeevb5iEnXMEMeez6RN5LWocgz+W7nmfaSWrE37tSO9xF3xr25t4MTuZxb0Teqjd9o8xAwHMYtxPrDyVLWFT7Tlbqmve1KkH8Tnpra3NA/5+io6fLZyVMi9Ket96lxnghMk1BMqcmLXLNczHzncKi9svzmN/dLJf0wtmzbik998tOihfxUx54MIyDj57vvvhOXXnqFTpp9+cu34b5f/iJ2fMmQ+ONH1a3CCOPKK6+Q4dTzWHjMPBx19Fz9QNOCBfO112HPRz8yCteJOKql9rBYKahyP/PsfzqYd0XJ8O3SVRzmlzUG//znP48rrrgSm7Zsxne++13ceustYme5Za/81wf/gl8/8Csce9xRMjQ7Ut/85YuY9O8M206Gl0Q8Uat84t9P6tzJJR+8FF+/82vqh1/Se+Rvf8dXbr8DB2QYO3bs2M7+DZzmQsloKCRqq+SBV3NvzC1yRe3tV5eH3wDq6N7c24lfo+SV3zCywnJb/g0xHLnSP+dzyC/NaEdzvYodyR5u1Dzizu6GK2xcFdSVNrGz+0tEydQhhe1ZfPQa0itQyKmmL8K1jXjhK1v79tdGaL8UhtVr0jwkrLhDQpKhIflJUxdV0ZLcLik1f4v0BGLHZ3g8CIpG0Bb2wZNlLQnb40qWfD4/9tbsF6pBc2sb/vKXh/Cvfz2JpUuX6xxJfX0jli5ZgedeeBVXXHYJ3GE3Am1BzJ9/FLZt2YaQPxDdJ5CX7ZUeRq4yrnfGE49i5ZOTDtbWRfLrgGpB1G5I7OesT3CycvIcmYB+qfDqj34MS956W2gpVqxYiU0bt4rwEV4TxGV4SciTJFJlnJSdX4YAlMWs1Iw/JA8UfQ0NdRKKlJO405cljV8D82wjThTarx3sEvE0gChW+npCSeUNYXsWH72G9AoUchqpYOY+GWI6qT6ykn7yE5/EIw89iJOOOwZ/+P1vcfPNX5YGE8TTzzyOsGgB98hQ6ME//A4nLz4GP//BD3Gr9JBsYLHCTUTsXew9IrWMgDQMDo149Xpz5OpT8/HSy59x5sm4/gufwcMPP6JDls985tN6bgpBTeDVV1/R3sceR1eUaj6x9/rZz3+OP8qQ5pTjj8U3Je2/+93vlL+H/vQnUeGsiWGLguCZM2zxRsPrigwvXfFEuw9efDHOP/8cnHDCIvz14Qdx1113gTMjv3/g1zj1+MW49ILzcPJJJ2HDho3q/u9/e0TnEDQM6YU5GW0P05ApB3t5RO3k5zQbqBQrfT2hpPKGsD2Lj16DPTq99uWysQGHOpovVAEFnFPh8vCWzVt0UxpXLYplmHHoUK0KHZ5ZwrM5tm7dKsqKtfkpHjgeTXXZmCBPZItDIoIChueI8GwX9rqqsgovXDnilQXLvSn2CeZ4MHMo3Vk2JpqbmvU8kV27dmtjZfxcEeHqA1V0Oxg+7RMh2WVjpn1YZaXu7eAGs+jSbnOLClXu0zhYW6tzKgS/58sJWQM9fY5apgPMBXJprkQ07G7mU3+EPX3xkIwbA+YL86nLMnYESC2Jj/1/DoVBKrPCbuQ+GaJ7zZDIMzdA7dyxUxsJ7ZhpdTxZTX6058QZT0hTYUJE/KVKmrEOs6id/KyjH61n9qz79u7TZUTDqy49RgqS7nU4FnGfDJn0pEqsQEy/CotIGNyboSfVOdwmG4dxl8g9t5ZzaXaXxJ+fF9kqIMSJQR52xMltHoxlzLkxzNyTeDiW/Tlq7rh2sEvA00CiePXNTsm4MZRU3hC2Z/HRa0ivQCGnmr4I12mgdKuIdmLYvRl+IupPqrzhJVme4uVbd/PU+Inltz/lk5N4YSPi1W4ej5LJm1TyL6m8IWzP4qPX0C80lK4oFWmdKjHs3gw/EfWnntfwkixP8fKtu3lq/MTya+eJGtLECROjz86XA53E4TLdlA8u1zN5Od9Ec/qJ5+/IWUfqZjre079x5/TDzZv5BfnRoZkx74qSyZtU8i9eGjoQYXsWH70GM+A2cRy2lwPjEaW1jiq6SZzr6O7Lgb1FnNfp6cuB6aZUXg4kxSuX7uapCc8ervPlQLHFcYsWYf176/T9Kb7wN3bMGNTX1WNIRQWmT5umG8ysIRdfsivXTWYcQnPeJyDDVR6YTTd8T4cv6O0/eEDjIPFSKMJh29atuvFt1swZqBX7YxYu1PNva/btw9AhQ3HKySfLsDtX3G3G6aedqu/5nHnGGSgQvxwmz5l9JBoaG9DS2hIN21C8fLNTMm4MUUPJvByYAgxj3YVkSNJb7/sKPdl631tIduu9Qbx8626eGj92v5233gO7du7E4PIKyUQ3fP421NQcQMWQSt0Bu7/2IDZt2ow2EYp8oY7bEt5esUI1iC1btug7Njynl6tgXo8XIVcItQfqJAYrwYybG9WmTp2mE877avbD1+bD7j17sGfvXv3SABcbuCN48+ZN6mPrtu16Ri4nnjdLHHTDlwb5smAsJJM3qeQfNZTMy4EpgBynksFOdHeVpzfR01We3kCyqzwG8cqlu3lqwrOHa4YSznwKhWUYE+aSuDSNLO5aoiF3izYj6MqHO+QTCsInIQWlM8kOB8S/CyF3CK4QDw73wSP+A64i8d+I7FCOCJ/2zoZxSUOShpel2k6r33pz2CNmFEasU4VFhahvtN74Jbjaxo4iEeLlmx3JuDEgr8wnw0dMOALkkIqPA/LlQNrFI8kNucpd5NrBLgL7fXfAjI6loTjj6UtkNJTOMH7sfp0aCoVIsGwKsn2N8I09Hr7anQgXDMXgI85Fq7SSxvzxyMkthKt4POAtR8n4c+AqGoOm/LHIHTwabTXbUTD+TORVHQNf+SyEcocimJWNsKcYbl+txs3h0QnHnyDDlzzwGI0rr7xMtylwHxJr6Pnnn6+vf/CIipNPOgWFBQWadwvmzdP6xZVACuZ4SCZvUsk/8vQ/93Lg+HFjrINwuK1ZJDlf2uIhOHPnzJGxb7k644e8uEeBpJXa5r83SL9UKFeOVzuY6y5d62c37w2yx8H76AawGGa9zY8J3x4P49b+P/JsKN63dOme/p15mgwZP7H8Gp78MszJkaGKP9CA/OYGrb3u3AL4mvNQXL4I+W2bRY0YIlpKE3y+nWhtrlFevfXr4WppQm5+kQhz6Y7rtqDtwGbkedzwNu4WN5HDkAS+tjZMn2bNz/BN7XfeWSf1d7zOt3DY5PG4MG/ufBEkxfpKxtw5s5Gfl4tH//EP3PLlL0nvK8Ikwncs6k7edEX28opLhO1ZfPQa7NHptTdeDuRk2T4Zg1588cX6Do5IOH3lnlvYd23fgYkTJ2Djpg36aj7HvjxA5z//fa6dqx4g1pBHpK5+Fe/NN9/Uj1mNqq7G3n37lM8333gDJ554osT/X5SVllr7KoTfNp9Px8bpgBnymJfeKNX50bCjFx6NpUuWaB5MmDQJr7/+Oi668EI89thj+jXCPTKWZ3o48Zct/jmWZ16nA8wjhm2GF8x6vv5fVFyMd9askZ4/FwsWLMDTTz2lX1Ekb8xH7suhJsGvB44eMwarxW2yw6ZEMEOe6MuBEl+YLVKGMHwZ0hXyIMy9N6E2UeMlF10yyAnTzCN2QT3HJIyAdhwIeeXeI/bSCbuoqUoaZfjD1xlcMhQKh9u1ioB0aOzw+H0hgt55x/xRPmiugVpgeTAv8oTfdKU9FfTw5cAWoSZJV5Okr0HKnlQvZo3yfJiHPLwRYoW0r/Lw7VMePLR06RL9wt3atXy9342du3ahRRoFvyzX1NSgX6jj1/w4cZYuSR5rlYeZX1woDWD0aP1CX3aOV8/z2LVju7rh8uLi445DfX2dLjPyNXl+JS9dPLFi2ld5aMwXDvmxLO6AZeNmftXV1+tKBVcd+OIfVxd4zkdQVOsc6RUP1h60KpIt7O6Sc5WHxjyjg8Lk8ssvlzINScXN1Vfvy4WnvaLa82uQvOenZflFRwqUt5a8pbt1tX6nQMxb+jFXmjlXebJEkARcuQhk5apwCLqzVGiEXF6598AdyhFXXOHhu04cLnnFu5iFac5Gz1C8QnwWkuGOzyPCGTKk0vkYdaavONCx7oa2Ee2s+/aX+yxzy075lGtXZE9fOogaSk9WeaTMmblmiMMhT3TYI5T+SVkJMJsaijSsvRE3nZBIQzmcYCNxaigEebTYtSbg+DOgnf2q9loL0gOnhmKHeTZxkgcTt50vrcw2nnsKp4ZCmLjj8RS1p/vIvbyqP+gAANxPSURBVHGXDnTSUBKgO7FatSB9+Xg40AMN5dtyYUPlGaF2DaVBwotqKPIs/X6TCptEGooJOz1gmoSSGtcdZmrvYaS3YWHEsGNPZV47t9uni2LlkzNOe9x2vpw895QML3aeTNzxeIraG574LNQdTc74ieU32fpEv6mSZGSncHqTrDjTR0nlDWF7Fh8KqUMUCCoUeC/gldZ6NUS3ySIpgcKxelJQVqzb6H0PiZ1fLPOUiIhlfhiJvXss88NGhP2agNJSLskSLxLh+4HkXyeznlDM/HISYXs2Mkb8hyhIIqS2MhLpJExEUwmLVq33iWCXX3rlkKexsTGrrq7OJSqnRwLNloi9ohInPeRRKcjE9gPwBT6q8nofZfDwQvQMvfYXfvQlR9Es+OsvPBH2fJJ6yButW70KZxx9EadBKnHZ3fI+BRgtou5QzZ1yaZG2ypnkZmknjaKlcP9JowgQ7kmhWbOYtTY3N+sci8iFYEpDniFDhnRgz+PxhCmhIo9dgwmMJJIVoD8QVXHDVyz7tBF/scxjUJ/wkwLZh1BOu8NJ9nxSRC69CmccfRGnQSpx2d3yvisibM9RCRAOB4SC0r6VIvcc+oT8fj+1lZDP5ws7Ryh5eXlhp5wwcAqU8EMPPRS51Y1F6ilZdUc5/V8lIpZ5hjJ0uImwPUdlTFaWXwSIn4JFHilcAiJLgmIekjavwyASFQqS5cuCXU7YYZdfBi4Z9mRxpae4uNgtEXDIkx0IBHIkklyJIE+e84UKSPKs93KlXa7cc12ORH8uIa4URWSjFY8wx0sGGWTQS5B2G7mzxIg0QWmKOmdCTSQgV7Nc3CbtkSs9OuwRfxzqUCXR1R1RKlpFS2mTts9VHj+HPCUlJaGlS5eaCV0DFTixBEp06ZgCpba21iOBZcu4ySsB58oQiEIjXxiiINGr+MmTa64wkyv3Kkzk2SPPFCaUHlnCNFNkjyeDDDLoZUj7U4EibVGanzUJK88BaY/cX8J9Jq1i3kqhIvcqVEi8F/tWGfbQzkeBQj/19fXBGPMnRGKBYt+LIpF6BTmiqaiWYicKErlS0HDHEAUKP6NHcok5tRThhWuKEmtGqGSQQZ9B2l8ngSJtUYc3ck+hQg2llcJD3HGCtkWUBr1SmEibb21oaPDLvb+srCzQLYFy8cUXZ23atMm1f/9+d3l5OTUMbjvMlki9ogLl+P3+3MjwJ1ciyhOGcoSBHLHPETMKEmoo3LYfFSZy7RBH5JpBBhn0DqKNXdqiChVC7s3kK98jUYEiV2ofbWJOQdIqbVs1ExEsbRzuiBnnWXS4E2eFh+haoOzbty9r586dKlDMsKeoqEjnUihYJLIciTSXwoSCRPzpXueIQOFyc1SgCGWESQYZ9D06CBUhnWgV6DwKhYpAl4OFqKm0yTPnS9qknbdRoHCoI+07IOYBM38yduzY0EMPPaRCygpd0UGgGEQFjHPYI5qJah7CiBn+cDu+CheaC+lQRxjzCGNuseP7P5w7yQiUDDI4POggUOSiQx8KErlSQ9Ghj1w5l6Jb68WO8yUqSJqbm1UzEQSKi4uDtuEOwzITsnahEl+gmGEPN7hRS5HAVKhQSxFmjGBRErWIQxwKFRUmYkbRJzy5zVAnS6SdBhx5ziCDDHoZESFiHQciTY/PJGm/nEdRoSLtMSjt2iwdcxk5+lIgzcSNaif79+8PiRwIxtBOkhMoJLN8TC2FQiUnJ8ctEeqQRqSX7qIVUq1EmKYAoT2Xmrk7RjUTEoUJrxpyBhlk0OcQoRAVKNJGKVBC0malmYaC0j4pXFRbycvLU0FCollra2vQMXdihElSAoWIChWjpbS0tGSZoU9ubq5bnt0y4nELI26JUC4et6hFKlDkPipIhCG9kiJhZpBBBocBRpjwXpqpzqVQoPBehA21FJ1XoRCRe7m0CxN5DieaOzHoSqAQusmN7/YYoUJNRZ5VsIg0c4kgcUUECoc5LolcBQqFCYmBZARKBhkcXhhhIpqJ7nqNaCqcIOH5JjzrJERB4vP5gjISCTmFSWFhYTiGdkKkJFB4r0Mfu1AZNmxYFudUJBIKkSxhwiUChsMcHsyk22CNMDFXQtQmql6x4swggwx6AaKBRN/FoQCxXylAeC/2Yd5TkEg7D4miEOKcCYc5fG8nWWFCxGvcdnPedxAqIkD0RDdqK7yK6pRlhAvv6ckIEqcAKS4ujtxlkEEGvQ3p+CN37e/kGYEiIws9lkA0kTCFCbURChJeRWsJpypMiA6N3QG7He85pwLuT3EKFmosdMR7+9UIlwwyyKB/gEIkcqsv/5J4v3v3br23CxK+URx5CTApYUIkavB2e3PfSbBEzHlgsQqYyGMGGWTQj2GECYUIr3EEif1KxBUmRDKN3+mmk2CJPPOE+Oi9XdBkkEEG/QsUHrxSgKiBIIEgIboUJkSyjT6eO7u5ChgDu6DJIIMM+hfMAUkOAULEExoJhQmRaqNP5D4jRDLIYGAhkaBISpAY9EQAZIRHBhm8f5GSIDFIt1DICJkMMhhY6JbgyCCDDDLIIIMMMsgggwwyyCCDDDLIoNsYqHOombnfDDLIIIMMMkgOA3Lt5XB19BkFI4MMMsgggwwGBg6LgtPbikK6w88oNhlkkEEGGWTQPaRb0ehVxaW3OvxUw03kvsNbzBlkkEEGGWSQQeqIcbpAV0hVAUmrwpIuBSXZcJzuUjo+xX52UwYZZJBBBhlkkDzsZ6nFgjkiyY4E563FQ1oUlZ52+In8G/suFRGjeMQ7MJKn1EZuFZkTazPIIIMMMsggeZjTowlzgrQT5lBYwnkwbOQ2VYUlkX2X6G5HH89f1FwUkui9UUhiKSJG+TBKh/kWhxNOpSSjpGSQQQYZZJBBcrArKPZ7A35DJ3Kr9nYlxnmafTcUlnjmXSLVTj6ee2PeaabEqZSYb/aMHj0abW1t0e/3mCs/Cub8ymBJSYk+G/PMh8MyyCCDDDLIIDnYP+xHmK+H8muh5tm4McqLuZqP//He/u0uXu0KS28oKsl29PHcGXNVTOLNlFApqaqqyqJCwmcqI2Kn31Kn0kEFxHwOmZ9CNopIQUGBXp2fR7Z/d90gllkGGWSQQQYZ/C/BfLLcCWNOZcTcNzU1dTAzSor51LlRXKigkHJycsJbtmyJzrD0tqKSbKcey52amaUcM1uybNkyH58zyCCDDDJ4fyMcDiM/Px/ScaGhoYGDyIhN91BdXY2tW7dGnlKHdJTIzc1FTU0NsrIO75iVedOXPJj4RHHQZxnwR8vDzgfdHXXUUVzBqBJzVUJaWlpUQSHxmYoL70URCVFBoZn073pvlBUzs9Kbioo7ck0EZy5zxiRr6tSpHZQTzpjs37//dnXRz9HXlSeDDDLI4P0I6aS4hMCZcpWrsWBkrbGPJ3tLS0u57BB56oxE/tk5k5fm5uYOcQ4fPhyTJk3irDyKi4tRX1+v5kVFRRg6dKjGWVJSoooWO3b6DYVC+sxOfvbs2Th06BBn/zkToX55pTvpjFWxonJUVlbGlQP1M2bMGM5QaP6YMHsD5OXYY4/Fl778JQwZOkT64z1wuzw4+aQTcd0nrkN5RQW2bNlMhSTKw4gRI/j8c/HrkXR6JN/ckm9u4ZsrG25ROFyieHJVQ5Lpckl+Zkk6skT5yxK3WZJfWbRnnh08eFC3apAPUmQbB+bPnw/qCO+88w6j7FbiE3ly2pvn6JKOfTmHjG3cuLFVXdhApocNG6YFxkLdtGkT9uzZoxWAoJm5J0RbU6IZC9aAmcuwzD3hfCYkUzBo0CDV6NeuXYvW1naWWIFZ2VhBIxmnhUU3olzpM+HkyR63HRw9sELa7WLxxkYzduxY1NbWqnZPu+nTp0vF2cIlsU7pMM/kl42L/hgP8yMWX7yyobFhMHyDWOnIIIMMMkgHKHsSzaDQDRWDadOmqTxj5yX9RMxZjngzKHQ3ceJElYWUgW+//bbG5/TvnEExcZ955plYuXKlKguUuwxr79692j+cfPLJ2L59u8pJul29ejUmTJigcf3nP//BlClT9P7111/HyJEjVYliGpjWX/7ylzjttNMwc+ZM/Otf/1K7U045ReU1FQL2Y6+88gqOOOII/N///V/a5S+VrWeffVbj//ZXb8egUCPOOmURcvO8WLlqHZ5+fSUuvPZzEv8UXHjxhXjuv//VPOEMivQn04Qfzo6EpO/Wq/QXnCUJSfpCfDZXsQ9JGQfFnss8IfFLc51VEWUmxJkU54wKZ1OSmElxPndAotyy2+u9c0mH91ROKioqXNxj8sYbbzTTzICZsWjRIog9/vGPf+gzcdFFF1HzUu3ztddew6mnnqqdNSsQO+x58+ZhzZo1WhFYqampLVmyBEcffbQqOJs3b1Y3rKSskPRLhYNuqTzRfs6cOVppWCEZV2VlJdatW4crrrgCjzzyiFbSd999lxt+NB7GwUo6Y8YM/O53v8MJJ5zADULa8bMik0dWWFY8KkE7d+7Uyr1hwwZtcFVVVaq5U4tetmyZpvHRRx/Fe++9p2EzXilU/OEPf9AKe/755+P+++/Xys8GTjB/qHWzgfC6Y8cOHZnQ/ahRo/DYY4+pgkXz8vJyLF++HKeffrrmDZUshsU84D0b29KlS7FgwQJVvliJf/WrXymPGWSQQQY9BeVVIgWFgyTOXlBevfjiiyp3Bw8ejLfeeqvTzEI8BYVxUDZzkPaBD3xA5S1lN83s/uMt8ZBPymXySH4M6J/y0vQ79EP/lLmTJ0/WWZNt27apG6aN9pSrlM1m8Ey/vOeV4VHGMz8ogxkv/TFOXk3/lw4wrB/99Mf41HWfRMAfwF9/ex8K6nZgkPRn+UWl2LV/H7IGV2LuaedhxMjReOGFF7QPYr9FBUV4ni/8qlIi93oVHvVKpUTugzQXhSUoaQtScaGZ3IekDwxJ+kKSLyEqKVRapIx4DUv4nZQU8iuKikm8PRO6zJD2kkoB9iWduro6lxSWKifSybfXCBvYIbKDZqUkqJGywKlZUmGgAkMl4ZlnntHMY2csio4WKCscKzK1XyoOVGY4LcfpoyOPPBL/FY2QnfXChQs1bIKVhBWClYb+qcgIzxoGNVs2AHbYVErYgVMLPffcc9UNtVH64VtGVEJ27dqlDYGVkkoQw6bCw7CpDFDxeemllzQN5PO5557D+PHjtYJSuaFyQnAGhfdUoj796U9rXlCpYBqpYDDtK1aswDHHHKMVj3aMmxo5G+2BAwdU6eHMEBsp42ReMd3kifnFfGHecXbqqaeeUuXvjDPOUGWNgoENz95oM8gggwx6GxzgcVBFWUlFhfJq1apV0Q4/GbAPodyjPONgkXKUcjIZ/3THGXwOWD/ykY/gpJNOUvlOM8pPKiKU2VwmOeuss3RwyNl+ymwqRnTHwd3ixYvVjJ077z/4wQ+qf/YXvHKAOmvWLO1vGCf7CcpzhnfTTTdpf8HZFc6km7g56OQglzMzTAuVG7qhHGee0Q37HobDwTmvDIfhEwf37tf73NwcnPPBS+D35oEqYm3tXuQVFmDcEVNVOSEO1R6MKlWE+CuQS75c8yXufN5Lv5knPORK2eRIWnOkn1ZImXnFXTZJysIj7nRZSMrELf2KUn19vVv0Ahf1AK6mUD+gnkB9QSNMPCHSCfE8OM11z0nkvoOCYmZOhGmXJD5LKk9DxFkUzEB22CxIFgDX+3hlh8kMk7BUQWElZAWgHRUMEiux0Z6p/VLRYXgMgxorO2XOaHDJxlRWxkV/9COZqOGYWRKGQXtqyLSjX8ZJ3qg00B1nNn784x+rG8bNKxsHw2EYrDD0Q34ZD/0yDbzSjVnfpBuGT5A3xsf00pxh8kp3JCoitCN/xpx+DNGO4VMrZxzMO4ZNTZ73JjwS3ZKYTrplYyOuvPJK3HbbbZovDD+DDDLIoCegHKGMpKyJNYNCWc4BIJUTI5+7QqJNspShjMMZjwFlJOWhfYmHMvFjH/uYziBQSXn66afx0Y9+VAfHHBRS4aD8pnJBM4ZNP5Tj7GO4/MNZaA5mKae5VEV5S/lPXqlscMBLfwyH8pazLkwLB5GU2VSKOIhkuJS/nJnhTBL5eeCBB3D88cfrYPu4445T/phnHPRywHvBBRfo4Jd+GDcH2lyGYp/kkfz93ve/j0/JoDfkb8GK5/+FJf99RnhrRGVlFY4560JUz1qI5yXt1117bXTAzDRLX3aW8BKSfApJPnH5JsirlFlAjPVergHhmfcByQs1J6R/CUo+B6QPCsk1KLzoLIqkX5d8pBxCCWZSnB1QzA6pkyISuToRVVDsyglnTqRwdOZEnl3ChEsyMv4Op34ONiaCFe39hPdrujLIIIPDCyoAXSkoqSKRgpIITgXFgPccrEkHGx38EebeXEl0E8u9udKcxGeml1fzTHvChOGEPRyC7iifGY6Jj8+8EnRnwjL+eLWDz1TcKkqKcdHJi3DUrGmaBzv37MOj/30RLy5bgzY/l9La3UcUlA9K2FRM5BJSxUTsSKqQ2J457eLnVeIJCK9qb5QUXrnsY5QUUciCUidCXexJiaWgGHQwd+Zg5xyNmFFBsSsnokGqYlJeXq5TOsKoW7Qpl2ikteorgwwyyCCD9z3y8/LgzfFGFJT2DfndwZjRo3UpPV7vlQhFhQXSOeehxvbCQwadwRkh6bevEkVDZ07EKKqM2BUTUYiomPjFXhUUEmdSzL0oNlRadEaFCoooIkHOoogyEty/f79uno2joBCxijk9CsqoUaOyDh06pMqJmLk5eyLmbmHogPrqAaglZrk8CLmSfQt64CIcovYtWnHkOYMMMshgoEA6Ke1SKLOjiNWLJAGGJZJfgmufYUgZdkHazSDs0PQJyFePw0szbylDi0p+oRDGT5iAbRvf+6SkjwoKZ0hU4eBVSJURufJMMyonahYx1ytnUuiGCgopJydHlRSfzxe0z6LIfbimpoaKS68qKFmLFy9WO6Og2PeeCLkLCgpcwrRbKla3VVetmlkewJ2tXGZp5TgcJZkaBgaX/ROZvPvfQ38o80y9+99ET8qdfomBWm/IN0kUC90kvHHD2i/IvS7XiLFdCdF76cuNguKT+6hyIgqNj26MckIzzqLwnjMonEnhDEpkJqXTXpQXXniBWWnIiQ5mKb3FY5QTLu/wmbMnZWVlelS9MKekDtOGgVEVBgaX/ROZvPvfQ38o80y9+99ET8qdfgdqvYnFuygZOUI8dpaUzWvkmfeGPKKckNyimLgFcrGuHo/HlZOTwwPcXMFgkFs+OGmhL8tQNyBxEkPCiIeEWeq07PQca3MsFRR+W6e2tlaXdsiUMOlubW11i6a0T33awI1P1Ni4EUgSGjGF7kyW8KJmMWdQbO7VzLrtcJ8MzBSdKFFRksLQuEmuLBdcbutkQAbOqbBkkSovdvTEb09h4u5LHpxx9XX6GR9xuPI8g9TL3LhPZ9l1xYPTLlV+ewP9gYeBCnve9SQf6ZdIxr+Jx3ntBFpIPxTw+zFy5Ajpg9zYsm2bbpgVJcBykyJixikPvFfzyAzKhvXv8NR3+9KOmTExsyZRkr47OpvCK2dRIs864yL9KTfP6lIPl3kKCgp0BsVslpXnDss84i+pc1GcOeDMw+hx9k1NTaqYUDuitiSM6P4TUUioJVGrouZEreqL6lNgFAAe0MN34ZnpfM2KJP51t7b4sZQCgf4XRUFKKfLckR37U0ebzmDcfp8fLXx/vrkFLa2tem1ta4Wvzad2wr9eJV1oE/OWFpLlplXuqVBRcSF/Tl7sSMRLV+iJ357CxN2XPDjj6uv0M76+jjODjkg1/437dJZdV+E47dIVZ0/QH3gYqLDnXU/ykX6T9W/cOa9OhKSfGlxWhkmTJiIvj29D5WKEKCrcm8gjJIKBIEaOGqmn1Q6pqFCz+rp6HWDzFeW21jY0NTZJ+FnIFb98PZlurB6rPVbe2Xng69IHD9a8LP2kdG9qo4qB3NNAv8PDq8RDcz28jcRnMY9exT9JPyIo/XpY+ky+3qPf7uGVm2RFUWHQ2ieT2O/yqA5zkntXcOZbp+d4b+/w9WLuP+EMimQIZ074Fg8PbNkb8RsFX3kiSaL0mYoKGeWub2NG9HQGhWHxnXPhQ5WLIYPLMXpUtcSdo69heb3ZopV69N12EuMnHzz8jO65ecgfCorC0qZKTHNrC157401LQRFiGqhYORGLFwOGT8ycPgML5s9XHl9//TW89976qHJGN1mSJ8FwCO7Iq2ZZmnQrVLfbpYf0sEB5noCJTTRSUaiaIa7FvxWOAcPgyYknLl6s7p577nk92jksXoPiLj83D4uPW6RK27PP/gdFRcWYMWMatmzhIXZ8RU8URQmOM0mmvJTPSF4YhCS/GH5AGhIrHt0SolIrT4SL7rWec/f4fD3AbtOmzeqWhxYdc8xCbNiwUQ/ho5nWiPYo0gqTQ70UfAZJgGWQSv4b9+ksu654cNqlym9voD/wMFBhz7ue5CP9Esn4N/E4r06w/x9UWoKq4cP1UDb2Sy+9+qoe0smzVULSR0wYP15PQefZKjwELjvbq2d27dq1U2g3pk+fprMtPOxz6tQpKC8fIkpKI3aKnH3u+ee13yIDjF95ETnOGZT17635hsjy6N4TktjZ9520ST+i18iznXSPCq/ix7ztI12atVFW+lu+dhwUhSmY4HVjwlwJ+32nPOv0nIqCIhoUPzbUSUFJFp0VFMs8EahcqLYpV8koqxOWgj1SlIITFh+PgsIc5Bfk6SFvfGefHSoLlK+z8bU4Fio7VyoMfqFGKVxqqbt278KPfnKfVbiRTpmFS001Lz9Pn5NFmyhOHzj7LOzcuUtPLaSyxBMGH374EXzwgxdjyZtv4eijjsJLL7+CymGV2LptKyZPnqIVjSfBUjNmZWQaFi06Bn/60//DVVd9RE++rawYivIh5ag9cBCr31mL+sZ6bBZFgyckTpO0UenhuQBM88TxEyStPuzeswcTJ07Cxk0bRUEbrN+2GDGiSjVbHkBERYGnHPKUXio6bDirVq3WuJ9++hkNa/Hi40TZekM1+R07toli6FN3VPDKBlfg4IEDGFw+GI//63E0iTLIWaxzzjlHFRTGx4ZzySWX6CcQTjjheFFQXlcFTFTzSK5lkEEGGbx/wf7EKzLzuGOP1f6HAzvKW35ShbP54kBlanFRkfZxnI1gX8D+iP0dZ/9pT6LcZt/WKgN06ZdRHxmAE5SoRqrSLLLE800qFWJEZUM3wcqVCoovopiQ2niV5w5KivQPqsjIfXSZhyT9qCoowgc3y/ZYQUlqiUcypsPyjjCbVVRUpIqKMKobZKTD4q1LmIwu8aQKjbzDEo9qBpaFEBUP7bsi90wLlQkWDEf6VgACCSMsw/DKyiGiBIxFoXS6uVJw+fkFohjkaMfIcjt40DqyhScBcmaFS0+SBJ1eC4ni0tzcgldee0tCZsSR/cSiNQWCAZ2l4QwB/dj5ikec0RgmWnB9fZ3ywOPoebJgQ0O9zvq8+dZbokgV4vU3XheFwfoiJiuZKIeRUwpDOOKISaqsFBYWYO3ad1RJYGfv8rjxztp3sUbMWGFDUnEbJdyy0lI01Ddox79w4dF6XP6OnTuwYuVKVXaam5tUK+eJiWvWvKPTfgyTnwNgng4ZUqF8bt68BStXrlLeAwG/zsRUVQ3XGSiGyTTwKmUvaWmTRtQkeRhU3te/tw41+2p0bZV5QH+1tYckHq6xelBdPUobW3l5Bd5etkzySjLLVubpJq03QonKK0O9R8m0FzsZ9+ksu654cNqlym9vUH/gYaCSPe96ko/0y2sy/k08zqvTHWUf+66NWzbp3pNt27fpaa9+kbO0o6eQdGYc3AVEplLW+6X/4UCazww3KHLVJ+55T/OQhNcmg0T29NE4IzC3lPUHDux7RW7pjJPWdqIZz0bhKbN6FdkelHt9NmYR8w5+BbrMQ4UkEAhwqYh9CZd8tG+hIsXVjD5b4pHOXs/jNzMowvCeiN+UkcoMiiRetclY0ELzBzB71kycduqJKCktQp4oJcVFJSjIz0euKCrUPvnRQVYCHnHMzpNhkqgcsNPm7MHd3/yeKjMWeGMtc7AzpiKTk5ujWiv3qqiSFAfMWMZBvwTjIajgEDSP2kswnEVhHDxmmQWq8QnRDQudhc000Iz3nAHiVRUsMTNXgrwFpTIzbHu8dndc0uGsU4UoJZw54UwNv/3DfGDY9Gv3w3B4zzg1XMlvT7bH4knyJdsrZUi3YmfPFZo5wbAM70T8XMwggwwyyCBVsNexeh5LBkeWeL4tMte+xMOZErO8oyTPOoMicp0bTfU+Yh99DZn34k43yubn54s4DwQ5k8IZFOkbQyke2NZB/EemBforhFeTs+y3I1d2tg2NDWIb+2cpc3SaxY1A+O0f/4E//mkVfn3/C3j86ad02YSdLTtEEu+pBJB4Lxmu/qkMsDC5kYmhWsRn6qjyJLnHDbVNzU0IhqVjplmERyeR9yw3Z4fkhjMv0oGTwpHnDvbuLOzZtxd7a/bBKwoQzWhH7Zl+eKV7Xt2iFNA+O8erz8at5hXDEgqJpmfCNvGqXcQdeQiLG1e2GwdqD2LZ8rfx/IsvoF7ymO4YtvFjwma8NIuGm2PZq7ncm/j54rnGYUjMaG4nE45xEyv/0kV9EUeG0kumvPqq7Jxx9If60h94GKh0OPLOxOm89gXFitP0Xw5kSf8WJT5bxv0H0rv0Z9hyln2/EEfnjQ2NYhP/x5UrLstwCSYnpwCecDOKCvfCm1ODojyu31kzEGbUToXEKCWEseNgn+FxD4cpPSuG9h9nJ/SNICE+2/ntRMI7KUvIJbcM1c2rsY8Q00kzXoNtPt3IKvpp1F7tGFYwJClNEGcXxPDt16h5JEzl0UZ2N90lxhVNXyQvwpKOdMcTj0z8sewy1D/JlFdflZ0zjv5QX/oDDwOVDkfemTid176gWHGa/isJqNOIwsIBul45cJc+Mckg0oc+VVAksZG7ZGHLWSFmFWcszAxGvJ+BpXy4sGHDBvy/P/8e/3z879i8bVN0lsTMoJAvzpYQRlHh1cMZCcYbCdWizj+6aWkVJYLLcfTuIPI8Z85s/ORHP8IPvv9d/PznP8VPfvIjjKiqkriteO1pZZhcZjrxhONxww1fwMSJE+DyCJ8RN+SXu7qvv/7zEb4j5pFrLIpnR/NouLYfn5kH5eWDMWHCeImHy47tYRg3TmoPobM9y49kvd0T1qWkL3/5Ztz7nW9rOdAsioifdJPhIZZdhvonmfLqq7JzxtEf6kt/4GGg0uHIOxOn89oXFCtOSlabdHVCXRllxMD5fDjQ402y0tnr+SeiXUkfo73MTZbXdrBDHT58OI444ghMmjRJ36Thp6O5X8E+c6F3olDEOweF+xnYcbNTpr94P7FUNyOqhmHc2LEYP34sTj31ZJxx+mmYNXMmhHfdKMvNoAyHnT2v5If7LbhplcQ9Li+9/Jrwb/HWTh1/uv8kxN3Y3ihfFpgd3PcRxKSJfM89B/fd9yv84Q9/RGlpGWbOnI41a9Zqflx91Udw2SUfxMzp07B92w6MGDEan/nMJ1A9ehSCgRByJOxjjzkGJyxejDPPPB3Llr2NGTNm4MUXX0J+Xj5OOfkkfOqTn8BcUYTmzp6DAjHbtWMncr3Z+NAVl+HKyy/HUQvmY8f2HWhubMKihcfg9FNPxZlnnIEc7nGRtH/8Y9fg4osuwJGzZuKdNWv07ZybbroeJ550PIZVVmHpW0v1dbiPfPjDuPyyy7DomIVoajwk8exGddVIXHTBBRL/XFxwwfn6WrOWrck7yURq9KrVCzjDdeDgQRysPYQ5s4/EM888a1kIumhIPYYpwwwGDkx59VXZOePoD/WlP/AwUHE48s7E6bz2BWLFyXv7s56DcqDmFZHRHOEa4ig0SmLHY/D1aojPEbvoBlrei7lSdna2dL0yVBcSvUA3y/Zkk2yvz6DwbZeZohRUVFSockFlgB3/YuloySSVl/gwvZtF1Oe4/8Q+So/1i0JuBw8qw9FHHa2fl547d66+4ssNoEbJYfx2ojkVFV5JDK0jdf6ZmRPe269RvuXCN384E/GZz3wKDz74ZzQ1NeCXv/yVzhz87ncP4PXXX8fvf/97UVjW4NprP47tokg89dRTeOGFF3H//b/WvOP77n/5y59x++1f1cKePPkIVbQuvPACPQjvk5/8NL7ylTuwZ89uVIlyxrd9fvjDH2hYf/jDHzS8W2+9RSpnCUaOtGZvbrnlFlUOqKw98eQTePjhh7USXSLKEk/6/fe//43//ue/+N73v48ZolB94QufFyXrPlx//Q244YYbRVk6CyeddBJy8nIxfcY0/PGPf8RXbvuKpNjKB+ZNicR3yiknC5/ni9sTNX6acyZF807ArLJyKgJb/qWTWIdIsewy1D/JlFdflZ0zjv5QX/oDDwOVDkfemTid176gWHFafdfAQ68rKNSWuMTCzp+d6vLly3U2hR0xO10qCfFhy1khjr4Zhp7u2sXPckwFhJ2gjNXFiIoAifHxynB46Bo7YyIQsN7gIVEx4VU9Cvi/neL/TPj8WTxL56sdcFDyIRtbNm8RpeQ+nHfeBfquO5UFLjft2LFT/LqxatU7eOmlV/DTn/4MNTU7hbcc4dPij6/lUtmjO/LOeLKzPTrjwzdtqPxQCRw2rFJPJeSsTEN9M2oP1olyFBZtdR1WrlyjCkyduGfR+/ySXuFz5KhR+ML1X0BpYQleffVVPceE8fEry6IEC6/lEl6eznoxLp6FkpOTjWnTeECQF3v27tGy8bf5dLNrSJdwBGLGsjpUe0gUnadEMXtIz1Dha8amDJl+ErPLyuEINP/ST9FZnAwNGDLl1Vdl54yjP9SX/sDDQKXDkXcmTue1LyhWnKb/Gmhw8tzpuT+9ZsxHdp7NTc3aQccDNcdgMICp0lEft+holJYNUkWJConpENnJm1doeSofr1QAeI4IiWd88AyRPz/0d1FYlBuGHKHO4GxAcVFxZH+FwOaMbwEVicJQUMClLVEYJC6+r05FjeCpgWNGj8ao6lHCU4MqdJxlIl9UFHjGCJdxeNrrwdqDyivTw6OPd+zcqc9USGbNmqnnmpx//jkSTz3+8ueHdW/M+PFjdL8Hl614gi0PjeOZKzy99kBtrTAYRImEPWnCJLRK2nfv3qMKZV19rSprPH+FRzCvWLFCuA1jxIhRGD16FPbt3YcNGzeqMleQl4eS0lLs5ZktnB2xpZ85Yi8tk4ucYeEM0ODSMuzdwzjFUBxacyoZZJBBBhmkA3YZTNkeec34O9KP8jVj86oxv1KsrxGTxE5fM5aBN18vdh7Y1ievGdv7DaLT8+FVUOS/TRGxzKDKA5dM4kJG5/42P0468Tice/bZuvfDnFdCJYWdu1FSWFjsYNnJswPnaX0Mn8oKlYQ77/meTRkiB527T4bBQ9U4G9PuNjlomqzbboEKBI/0P+64Y6MzEes3bsDq1WtU0eKsTjyYuHvKQypwxtWXcROMj+jLODPoiFTL3LhPZ9l1xYPTLlV+ewP9gYeBCnve9SQf6ZdIxr+Jx3ntC8SMUx54r+YDSEHp9SWenkGyk+xGiMqJZIbuXTHLKNaCSuefOpY/duDeHK+O1KmcmCuVCSoovJKMwsLwSfTnE6VFlSQhU7jtMVjxc3MsZzeyPaKcRMxSIZ1p6AFxqYTHw//tb3/HX//6kNLyt1fowWm0i+XHkIm7pzykQs64+jJuEuPr6zgz1JFSzX/jPp1l11U4Trt0xdkT6g88DFSy511P8pF+k/Vv3DmvfUGx4jT910BDP1dQbDnLvp8kP5fbheISazmFz86fNctBdxDlxK0zJkYJMWSUEYJXapUk86x2fHYxRG7MJXV+vbmgkMfo51pLOwwuRWKaYpmnQjwMjYeukfTgNId9PDJxp4OHZMkZV1/GTWJ8fR1nhjpSqvlv3Kez7LoKx2mXrjh7Qv2Bh4FK9rzrST7Sb7L+jTvntS8oVpzs2azebWBhwM2gmHvODpQUlyDHm6OzGGZWgz/LifyXEuLMhpklsc+WOJUUu4JC0JwbUhmnPWz+DA+FBYUav3nuDvWlZu2kWJp2b5Mzrr5OP+Pr6zgz1JFSzX/jPp1l11U4Trt0xdkT6g88DFSy511P8pF+O/nn/kSS3UzIuHNeu00aj9PM+Sz/5C9WnBE9ZcCh189BoRLAJZkhQ4Zg0KBBupmTmz+pKLS0tERcWdDIuSwRPQeFOSumkdylRqj6RPQ+y1q+ycvVV4P5CjJLIyvLDb6tPXx4JUaOHKkF1NTcoh//a2psQl19A+rq6pW4abX24CF9s4T3NGtoaEQd78Xd0uUrrfDIDZUY+fGNlqLiIt3fQR7sfKVKPfHbUzJx9yUPzrj6Ov2Mj9fDlecZSr3Mjft0ll1XPDjtUuW3N6g/8DBQyZ53PclH+uWV/jlhXlpSglHSv/BcrdaWZnkuRSgYQPWoUWhusj6YygGtN9uDMaOrte8pl76vqZEnoYflfpAECJQMKtU9kNxWQLATLZA+Zviw4aivq9OjMvileR6a6WF/KnYMZ1BZiTAleon0fePHjUVRYSHy9btwWfoihA6+IzwbmNuBcg6KjXVFp+eebJKl0iDuMHbsWH1jhh/f27p1K0499VRVHB577DEtGEmgumehJfuxQCcYhsStm1v5uelgIAi31KKscEhfs7VOQhVImO3BaixWhWXSI7MoXCbhDA1nWfgGDh2YjOXrwgTdJYI9M1k49MM8MfemQhrerSvDts5oscBrhK+omQXlQMypKHUOy6VvMvFNHfXHZJg3jGww4bLC8Lj+tjarYhv+5CJp91if79bXk6045J/OXPFVZOaRhkzzOOBhcNz7w03IfIOJjUjDEL/6QUG56r0op0w/wXgYtlR0aeTZ6p8bf/n1TsZE9wxDZ7XsUTMP5cfGynIzfBtQoPBT5JqBEX+dwnDAL/EyP5ifWgfIP/1HoHmgQUhaIgGrk4gb3rfHp//aLSNXzXe9yyCDDPorKHeoDEwYP17Pj2K/xsH2ggULsGXLFkyZMkVlzLPPPqtN+8QTT1C5xw554sSJeOWVV1RmHzlrFvbW1GhfuHHjRn1bk+aUdYsWLcK7776reybpb/LkySL/crF06RI9QJMyhF+X55fuKeN4CCrPrWLfwg2wlJWr16yBdMrKMyVOROoo/wNlk2yvzqDwUZQY1IkWyIzmAWk8UIydzObNm/VtGTss2Z3KDIp1r0TIlQXEuDirwk/8CxOq7obJmXjgB/W4h4VHx7Pw+EyFhB0P3fGeX+XlB/JIeaKtcsaEnRJf+Y3CHncc0iiFfKIwzZs7Fyccv1gq4X6cddaZ2tlVVVVh4oTxOCCVjCfsjhs3DmVlpdqx5ubmYPjwYXqdLJWPy1k8xXXSxAmavhFVwzFr5izlbejQIRg5YqQegMZGM2HCBN2Scvrpp6taPOmISfr57vqGektJifCnHalc2bAmSMM5dPCAaP/VEt8k1dh5Cu/8+fO0vMaOGY283Dw96I6vR+cJXzyAr6iwAMMrK3WHDsuaYUqFjcZBonI4bepUPbmWsTJcvlE1urpa08F6wlNu+aVppoH2RUWFOhLhCGWuNEg93E0UromSNprlSNnMmDEdtVK3+Cq1cw8Qzc464wzMPvJIVVqrq0fpeSwzpk/H9GnTVOGoHlOtyjNn9/jBR/rRKmwLhx9RpGJ62SWXaHkcIeXE0RAVtjLhaeiQoRJ2NRYft0j5HjqkQuOcNnUKBpcNkjhrcZIIqFwRGDwTZ8H8+Qj4fThi4iT1P/mIyXrCMePdvWsXS6RD/Blqb+u88rlDu+8FcsqWTrLmMFB/4GGgUrrzjvKNMnH7tm2qoMydO1v7Ng6u2KdxhWDZsqWiSMwV2TBSFIc3daC+d+8+tePBmQS/WN/Y2KCybe/ePfrWaLb0SSecsBjbtm1VhaSycqiGmZ9foDJv9+5dGDVqJPbt26fKEPsR9geDBw/SIyY40KQ8ortmu1yMwNwOlBmUXl/iIViYLEhqiLzyrRNmuiQo4sKCRt5BQenIjv3JyaiB8cOryRAWIN+0YaeoyosUPPeOUMskseOlHd1wCYpumImcQdE3YXoILg1S2WHa8wryUXuoDnv27ME46WyN/eixYzTOQ9LhUgFobfNhunSmvHIGgEremDFjpHG40CTa+ubNW1AoWvo7omVPFY2dZ6zwSH1q6qy8zAHmL2cKqNyUlBRj585d0lo1SgXziOkjVQyu0JmNoaJsuN0ePS9l8KBynfFifhQUFGr5sew4OmDRsXM/cOCgdNZF2piozbPBOMuNMXklvzdu2oQVq1aJUlOk4XDJj2HzADgqO0wnX/VmA+PMmi6/iV1raxvVHlE0fKgS5YTKwdZt26XxDlOlcf++/ZrWaNlTGjHPs71Y9957Urb5ejBemQgHjydbZ9gosYYOrdRyKB9crvVk7+69loJig9YjqY8zj5yhSlNI2i6DX3jUAhEKZfo5hYkTxkn6svGfZ5/BaaeerOlgfo8ZPUpCCGGmlGO2KMRjRMk79dRTRDlqRXFJkSh0TZgqigzzdtvWHaKgSLlpEmyFlEGkVK2rue9NOOPoizgToT/wMFDRG3lHGTlI5Ak7+r37arBL5AhlLQdp+0VOUkbzfKtt27dL/xdQ2ckDMvl5jwoZxLCDph9uLeDsS670QcXFxdpX7tq9B3tEmaGfXbt2S3foURnJwRj7Cm5DyJa+gp9L4Zfg6d8fDKp/Dso3yeCf2xlUDkbAO3s+ZJZ4ugGdHE90Dop12+F+IEDyJXJnQQpVzbg0YJY4aGaHMeNSl30ZJEwzzgoZe9baOGCtM7MancIXogl5kMCi9lH3wXazdtcWWNH4MUW/3ycUjPIUD8q3XDVcLg3JlUs5jJpmVBRbqfGrQmiLSy5Mgx0m3conf3IfC1F3jITPtnD53/iP5mOccIhQiDOg4t9iGNJS29OrZiwja6nNHifdhIKWGYn2USVI/ISD/Agk7aiXy1WGe/xl0A5TalaOWve9CROfgfP5cKA/8DBQcTjyzsTpvHaCWNDc2NGdiIAeIWactngomzIHtXUD2uWIguL25loZGhHyGWTQ1wjBg+ywnzUSzTkVKDvyarS5SsTGqpNW1ex5/Qy5JYywBwWte3Bg+e+RFzokpj2ftetNiEBSIUdli/f9BX3CC4vcEY1RRvsDDlt5aK/arpgb8DEeS067rp7jh8M+gyo+7WM6ODzQPQVd8Z1eMB4dyTqGc848YfmQOEudUVBShYyos3PyUDK4Qtl0rj9lkIETrM290f45d2nAxu+Whs+5jqgAZkO37nqEsCuMgAgR/YmAcYlgcw2Ymk+erTsj+A4/yFNv1IjEsNJ/uPPg8KSd4N72UBezub0CTW77rCWXfA9X+ROM29oWcDjaMPM+FN0YGx/WjPGmjesyCkoq4AxKltuL3IIi5VIVwgwy6CfoDbHXXsW1xlu3GWQw4MG63Bf1me2mv3cUhz8vnByIooDdu7ZmjronhHF9vZYaLu9JvE8Ik6sZ+t8iIpb5YaZwL1B7+PKvw3OG+gURscwNEbHMM5ShviYilrkQe9sketx+h15XUKiI8N3vI488Ut/35jvifKebb6RwV28GGWSQQQbvN7A75H6I3qaB0O1m8qK76HUFhbMlfOOD74lTQeF5H1RYuEknS0aNtI8L5neG/veIiGWeoQz1NRGxzA0RscwzlKG+JiKWuZCZTBlo6FUFxSzj8GyLmpoarFmzBq+//jreeOMNrFq1Spd9oq9cxoJtiipD/0NExDLPUIb6mohY5oaIWOYZylBfExHLXMjoKgMNvaqgcIaEyzg8NZbH9vIAq7179+pBYjyoK+E+FJOrGfrfIiKWeYYy1NdExDI3RMQyz1CG+pqIWOZCRlcZaOj1JZ4ewaYBdiZhPUPvT2K1jGWeMklF6VRv7CT/YvrLUIYilKgupq2uvt+Ibcve1pwUy8//CkkGdMqPNBARy1zI6CoDDZJb/Rg2DdAQP1BnKJb94Sf5F7nXGaLIfd+R/OtkFpt0AqtXSf51MkuCiFjmXZL862RmUbS+mH1kaabez8f3O8m/TmZdmaeL5F/kvr2ttpspEfbnhPb/u8Q8tMvnWG0uau7Mxz4iRhvLvHsk/zqZxSP55zDjuTEWmTzpaJ8yEbHMhYyuMtDg5LnT82E9B8UyjoINgPtZeA2FebRVfwS5IveE/T42YqWzZ0gcp4GJO/08GHTmpS/jsp6tQ4kILjd6c7zi0jrUqaXVJ4Khi03aGfQRYpUdYZmbOmNcWKWZDjhDtWJijPY4TPwW7H76Dh156K9oP7jP4jis3zOTvsEyEgQCAf1iejjcdweq9V7exa8LJs72q0oduWuHSX8oHNSPBPJzHz1CVwkVO1oZ68w5KOkAWY1DZNxkeP8iS7h1vo9N6U9H4jgNmbh7Ly8789KXcVkk/zvUG+Egep98XmWoNyleOVjm9nqa3vpjj9fchzvF0fH58NSZ9Ka7t0galc4UWMS252x/FvG0VbXpE+q9vItfF0yc7dfObk0+iaqm+dLjWRQilrlQNM4BBuZfr4OvEnPEKppWxCRJmFyNQfz+gh41O8DpcKbDxN2XPPRtemPUG1trte4z1N/JXk/7ov444+jbOhub+gMPqVHHtuakMNd+YvpLPx2OvDNxOq+xiL9YeZQyEbHMhSQGpYGGPlFQxo8fj5NPPhmVlZX6FcW5c+fqZ/aptHQJk6sxiGUbfeYaXiCIovwClBWXAMEASgrzUZiXq99Q4dd6jVN+gn/MuDEIhHzw5nhQVlaCHHe29YVdddTulkTtlmFWDBos4YbUXUFuHgaVlMLjckf98RrOEnt3WML2S6wBsiUWWeItBHeWC4PLBiE/J1fdEuRLlTfGI/9Iud4cDC2vQJ5cC/PyNS66z5a4yIfEiEESjhmZlJWWYcyoalRWDIFH4giHgigoykdunhfBMPmQ8MVpYVERioqKNQ6GVVJYZPEhfx3yspepL+OKRfYRnf1eLzQTynFlY4TU1XKpG65wUIllz7KbMW0aygcN0tfjS8vKkCP1WMtRKEvMGA7DMPWC5UXQnvWA9iTWC11cEnd043V7JL5BUo8DUgc8GDK4TMIICIXaw2G4LONIGBTyobDUM9Y18IvSljmLNcTFbamP4ayg2uvMgJiTyJvWO3GvPDHhBC/9kEyd0XyN3PcmOePoizgTUX/gIVWKPXuS2I7EOkqy6r0lk9lmWFWZF6Ye88q2yUrPPsCYqT3tIuCtIdNeSXZzY8crB9PsHO1h2f3RkeFR+ZR2SVmdLe1Y/dBMeOe3QOm3q/JLlBdJExHLXEhiUBpocPLc6bmne1B41skxxxyDefPmYcuWLfrMQ9uamprw1FNP6Z4SM7OiU2ZJ7kFx2vvEfOFRR+Gss8/G228vw9AhQ7DuvXW6rnfMwkV4+OFH8IEPnI0lby3BmLHVkPRgaOVQvPD8i1hw1EIMGlSm/iYfMRmSHixbtkzobVzzsY/il7+8D5JeXHbZpVi/fgNGjRqFFStWYOzYsRgxYgQef/wJnHfeudhfsxcbN2zACSediPt/9WucdNIpkCzBVkn3GHG77O3lkg9zsXPnDpSKgpOfn49NmzZj5syZuOvuu4SHwTjttFPx5JP/xjXXXI333nsPDz30CPJE0QpKI5wxYzouuuhC/Fz42bN3r6abeXnS4sVYuWqVuidPY0ePwtSpU/H0s8/gqAULMXz4MLz55hJ43G4sOnYRnnjySdQerMWg8sF46ZVX4MkWBU1D633EKte+AvegmHVee13SZ/0vV1EQxlWPwZlnn4HikmL84x//0LKtra3DypWrcPbZZ2H16jWqYG/euAkzZs7A/v0HMHjwIF1f573Xm40pkv+PPvqYKMClGDVyJKTNaPgNDQ0oLy/HgQMHMHnyFKlzb+Pf//43qqQeXXTRBdiwYb3WqaamRinP9TjllNP07KD6+gbMnz8HIVG+9+7dI3VoJ4qLS1FQkI+amv049thjxd2bOOOMM7Bu3TqJYzDWrFkl9S8b48aNxeYtW/WeJzk//PDfcOEF52Hp0rclP7x45tn/YH/twa7PJDqMMHXGlFFv1x9nHXU+Hw70Bx66Ax7SSTJgG2lr4zYGSU9E7jvBgd8Jxx+HyVJXX3j+BZx95lnYuGmTtMGDGCxth+2Yx1U0NjZhyZK3VDZeeeXl0p88g8svvww7duzAoUOHcPzxi7F50xZpJ0V4/vnnMWf2HBlUlOJZqe9HSV/Btr9s6RIcd9xivCJycMFR87F9+05UVFRoHK++9hpGjhyh/dZZZ56J5557HgsXHi1t9yAeeOABTJXBSnX1KBwUWXriCSdg0+ZN2s4rK4dJG3wXL7/8sqaXZcfBCNMbK83kw+zViZcnSaGrSiJ2tDLWA2UPivOseWfysqSjyxJlQhUTiThLFAwZ1IWyioqKVFGRjHWJuUsKVNKhEu4my2s7WEFZUHV1dVo5eR4Kz0VhJbJDM1Aqp8drdSJ2DVghzwzHZLYddOqWeNa+uw5799Uobdu+C5XDhqPmwH68I/GF6Ukq3krpYN5esUp48WP7zl2oFT6WijKyZ98+HOD5LOJshbhpECVmlVzPOfdcHS0/9fTTYl+L9Rs2Yt/+Gm0gfuFn9TtrsXvPHrz51lI0SafHSp7tzRVFK1/8r8aWrdsQlBHtjl27pBJvRomMlJdJx7Rdnl9/43Xhw4ct27drPlWKMuEP+rF8xUpJwz6cLg2jzefDfunQGHeL5B817uGSrtpDtThelJNcUXSyJc92CQ9UOvbVHMCbS5ZhcMVQHKytFfPd2LNnLw7W10nYQbQIj9nSGJgO3nM9uK/QdzF1Br8ymi2dtBawkPk+FKF1zzJGliiVzMvX33wLgwaXo6GpWcp3r9SRZVInmlRRWb9xo9SrA1o2FEhUSl544UUUiTBcLsoi69XSpUsxdvx4DYvKBsuvThQUl4S/YtVqqZ/b8NaSpVKmrRJpltahmv21WL5yJQ4eqhMltEbaggfbtm2HVxSrQ6KkbNu2Q9pIttbfcRMmoNUfFEVkLTaKEN0oyu52Ec6sy1ulPq17b6PUwQJRYA5g4+YteHv5CgmfbWEtCgoLsKemBj4RqNvErU/qoAgaZkW/g+HKlFFvwxlHf8iV/sBDqmB9YpfgFpluIH0Hgpzp6KKuSWciA1W3Kt6DRPF/7Y03VC5S9vFLvWHxu0tkZ5vPL21kHyMSuVcuislOUfSrsEnaAgdwVCQoZzkQYd8z6YhJes9BwdChQ6SN7hC3W6VN1ovyU4vRY8Zg1Zp3cLDukPYfQ8RN9ejRKif3SjxsN6PGjMYGUZY2yuCkVAa1RcXFKgOKS0ukHe2Q+zb4pE/gQHauDEZHiX+vyOYcIQ5OdLbEAZpRNlEpimWfDjBUe8jsaxob6l6RcqDuZIgfcY+S2AVFPurVEJ8jdiE+yz2vITFXknCliENhkvTVYSomzc3NYaaNxHipiBWIXHrnnXfEe9dw5kan5/76Fk8s+wEHSQSVpmg65Fmn5gWWridGITGkG1uDppk+txulBOZfSEYdbuko9Vmom0GljMNZbmwg8WZQkkIM5gMBPwK+gCg+0vg8XrXXEjxMiWS0KaRoQMBku0lXb2ets5hjFHufoz/w0B2wQyIZcICZaAYlndDlFblSnrJjZNymzfO/Dlq7CYbD9Hi4rCPhW71SR5hyM9dYYDiZGZQo7Pd9swfl/Y4OOZoKnJVJnlnRjXJCZLk6TwvSLG5FTAIMj8pJt/lOI/oDD0kjRp573NnIzc+DO9uLkBRbiG56UDapwNmqgxJvQCSybsijAQWxKLNUaHXtXAxpxTVyD5VcmokB/YWtFfcI9W4CyNrhRn/gIYPeBxUQbRcy8Gtua5WemHXeaqepKiesM/Z6QzlK5YtX50AnU7/Sg15f4mHhcb2eUzocvZKovbFgxV+HgmXk3V3iOZzoCS+HMx0m7r7kwRlXX8bd1RJPd6EzXqyPDiWyN8AYOsYiyofwz2VGSRxyhw5F0fjRKJwxEcVzp6J09kyUzZ4u16komzUFZTOmonjqRHjHjkJoaBmCeTkINgcRamwVpSUyK9cHJZJqDMZ9OrnrKhynXbri7An6Aw+pgvWJXUKqSzzphj2mnsRKv8n6N+6c11jILPHEhzM3Oj2na4lHzCN37ZCERe4sDNQlnp7wcjjTYeLuSx6ccfVl3F0u8ciV2nVI/vtzc1A2dLiMuNqQU1SAkNuForx8NO4/qPunKkaMkLCysX/zJswYMwK1+2uwbcdODT+d4CgvKPxw8tgtckGliIgEd2EhCmdNRNn08eIggPote9C4Yy9C+w/B1eKDp42dgB/+sE/DIFz0JyGFRJHhHhhumA3mZMNfloeCUcMwaPRo5Ere1GzYiJrl78JV2wDmVEiSxHhdYUt0msmZnhRaqmVu3EdKKi31pSsenHap8tsb6A88dAfskEgGHGD25RIPYc+7nuQj/RLJ+DfxOK+xQBmUWeKJwn7fKTmdng/rHpQOrFoFmfK+gQwyiIAKBGfzWH9IFJTSqNSOyyK6wBFyIchZFk8WAtL562qaCI1gSIQIa6i450u7bq45i/38uXOwd/cebN26Ne0KChujRIugjDbKjpyMYbOOQP3ufdj7xnKEag4gJCNROuCr8CrXwtbyjN5KeviKuYFbNBW6U5NoK7du9FV0kUkcxfml/XmGlaNi1mSUjB6Fxu37cPDt1WjevQtefwjuYBhByRRtn0KZlphBPLDdsOONpaDQLoN2UHb0WEHpAgzVHvJAUVAo0foU7BBYGKy4CWFyNQaFY5gdLuoJL4czHSbuvuTBGVdfp1/n3mLcs1sX9Vg6XzELSbvztcETDMLF6Wh/QO85W5EVDiE7HIQ74BdzH0QjlwAkpEg4qZP8E8XAUFB+fuEhVFmBinNOwehPXILcyaOw9823sfanf8Duvz2F8K59ErfwIFG7xX9UpnG2NovnoejMq6VwRSgsYQZdooiQ9HwUkuU2i8pZFjsRN7KZTiolj76E7T/4I/Y98jRaRBkqnzcLo6+7HJUfuhCe6UcgVFgo7IvKEwrCQz4iWZlMPqSaV8Y9r93P547UVThOu3TF2RPqDzykSvb25aSu7NJN9rzrST7Sb7L+jTvnNRalLS+IWOZCEoPSQEOv70ExEDc6el2wYAFOPfVULFq0CGvWrOmgTWteJrkHRUeNkZ+TbVaGTn57ER1jTw098dtTmLj7kgdnXH0Zdzr3oJBvbj4dMWKkvm5eV3uow+bmeKC/9jorSpFUVK2rQVESBpeg7Jh5GHLiUWhpbkTDM2+i8Y3VCO49oEoRl3qoFPQ29H0EUWR8onkEhTyiDPm27sGhJctR9/ZK+OoaUDB1HIadshCF0ybBl+dFWJS4QHOzDkD0tXWSNMQsNsYIzF27SXKw+0vVbzx0FY7TLl1x9gT9gYdUQbnONpHuPSj0SWL75QwiDy+0zDv+tH1zhjFiT5h+g+bkg/0J7xlGIo4YCt1wFpVhB8VviDxI+7WOamDIFuJdY4G+MntQYsOZG52ee7rEwwpJZqZNm6bPkhhlkIdPSTgdKqqOYZPZg8JKp9PZFhhE0CujT68bOdRfROLrmwlcb/fLSNFnHZLVW4jFa7Loid+ewsTdlzw44+rLuNlAevSasQ1UKrjPgwc+8ZyTLdu26UF4icA9IVkhl8468M2aNo8bRTMmYsjsyWjeshv7X1mOrMZmeLjEpLMczJ++yqHEYG6JRIJHGhhP0PQFfcgqzkP+lHEomzhO7LMkHbvQ+t4WNO+vkQ6Kwpe7XyKeBZoH1m1SoDe6j3hPS26YMGPBadeV2wy6BjskkgEVgu7uQWE5BKXPCEm7mzFjBi699BK8/PKreO6/L0bbMV/7D4YCenr5hz/yIaxctRoPP/KI8sDY/G0+zJo5E2eceYaeheJ2W0rUmjXv4G9//4e05b3aP3WCBM+33gYPHozLL78Uw4YNhTs7C7k5uZqel158Fc8++xyam5p0jxd7bsZn6k5XdYi8c0WB8aaaJx3QZSSWlbEeKEs8zuR0eu6JgsKMZ6dwwgknYPbs2XjjjTdUMRH3au5EJwWlA6tWeKZTiQptEZJh6XRKj1+AihMXIOBjnomx2HPPQMOKddj3+H+AVsnXaOE7As7gfwKsc/H2oKQK1iSOoKig8IA1njYpDcCy7ACJi7Mk8uN/bjYNBkUeFBVgyHHzkD2kBAdEKWl6bxuyRVhaPiIjPbmhgtKfais5JF9UUqho6LHekpe6GVfyMhSQVA4uRu7EUSgdMxJZ2V40rt2MhlXrEG5r0WemR3ND/Fkhvj/BNGrZaRJZnq5IXskInOmXXoz1j6/ASg8Fd0EhsovzkV2QD3deDtwi19jZSQ/KCqFglmm+kUT2UcnVUTzlYEBC5YyAdNIclLEzD7T6EBTZF5YrOFjjAFj44WcxdMaPvElZqmhkkBGhy3IlWGe7C+m40rIHhenlm2qnn34azhTFor6uHq+99io++9lP4Ze//BWefOJpusL0GdNx9dUfQV3dIaxfvx6LFh2jB2H+4pe/VkUiFPTje9/9DvIln2+7/Q7poPfozAWz8syzTsfHr/0Yfvub3+LRR/+FfOnA2W7tYBvmqd6UHTwxmumSvhiFMgD/xt1f11Nqv/71u7B79x7px9oH0MmAsqnHCkoX0GK2bhUZBSUCFiYbIa8sBElMxKYzkp5BkWvUXu6zpKIUibAftHiBNEoZ0am9NAoZvTWvfAcHnnwJ0irEgwmxe51SbyBWOvsKJu6+5OFwppf173DMoLA2BrPc0nFIGxhUhqrTjkFARnIHXliGkAg6DzNEKCCk33OyvA1IBIV7t2hVHukHORUeFkHtHjIYuUeMw6Dxo+E/cADbXl2C8N4DyBU7nh2TqARMnTHuejt/THwGzudkIToDsrk5WaglHEAgz4WiUVUoGlONouGVCIs+21LfgNb6JgQO1cNfXy8GfrhaOUsQlA41IEpMSPxLvprOkjJMbnmhLCVxppgbl0NUcEXp8ErAXFYJeyRzRUEIZ3vgyfUiW5QeV34uUJADj1yzC3P1kDG/xN20fS/qtu5E2x6pj0Hr21/cm2QUlu6CnXgsBYXoqi+wgyzQJdsvTzzm0fb8DMX/+3+/x29+8xs8/viT0sdYsxAMm7MoI0eOwm23fQkrVi7Hz392v6TTKwrLUbjjjq/g49d9Ett37Falj30O+ydm6rUfuwazjzxS3NyJfftq4MpOpGRY9jwh9os3fB5HHjkTd935LWwVWeDycrmmve6YayxQBmVmUKKw3/fNOSg0JvG+K2gGJrkHJRoS79nxVFchb/QIEYrWCEHEpPyy0FpTgzYZnbr8FJ0cxdCLM+DDh65zpHdh4u5LHg5nevtqD0o0jVqBObINIad4EIafexLyhg/CrmdeQvOKdXC3NAtTVidgdQQ9Ga/2D1g5wA253L8it5KucHMz2rZux8Hlq1G3ZQcKKisw8pzjkTdrEuoP1sN1oEn8iXs302+VB986itxG84TXvsgfZxzx4iR73LugvMpTyB0S5YwfeASaxChn7GgMPXERhpw4D7kjh2o4rfsPom3jdtQvW43aZWvQ9M4m+DZtR2BnDcIH6hCqa0SwqRmhFlGepTPWmRDpcCHXsN+aGTHXkM+HkLgJcYakpQ1Zza3IampBqEkUnsZGhET5CRyqQ/BgLfzS4bbt3IPWzTvRKvKwafUG1L+9DnXL1qJx/Tbli6P+3AnVGHrMHAw/aQHcY0egzRdCy8E6eKSdqPyUH/cnecL8iKUOKZkVMWFkfzr2oDCvOVvkkrBIXlG6LrrwfLz99gq8t26jcCE1SPKddiyTwqICHHvsMdi7dz/eemspPOLeL4PXsz9wFlql3a1cuQLU57hHiop0+aDBOPPM01FVNRxvvblU/NWoQhQLRUWFqBZFs3LIIBy7aCG+eOMX0CRl9r3v/RB79uyOntBNmFR2lVrmaWYPSmwkUhEPL0yuxiCpV+3P3YHd/2GkDunoYzJx9yUPhzO9JFVOY9ynTAqKTYYiPxnBGjsqG5wiD0sP7S8oxbCLzkDlGcdg+5MvYO+/noO7SToSce/nqNeE9z4j9j8qXOSqZS5p5ax3tr8VwfWbsfu3/8Tu3z1pKXlXnYsxH71UOvSJIvly4QpIZ0PFhplo/EeufVF/nHHEi9MlPLqDHEQG4BfBmzNpEqo+cilGXncZSubPxKGafdj6jyex6ad/wq7HnkGDdKQ41KiKB3sDKgRZOutBih8PL4nSrf29gzr6kX9aKBYxbhfj5zNnaqjkiCLSuuZd4fUprP/5H3HgL0+gefsO5M2bhGHXXohRH7sQ2TMnwJeTKwFKJ6xh2uPoSF21r67suiQnqDgJH4kGGtwLxe9QXX75lbrd4Mkn/oV77rkbN9zwOfz6gV/iy1++Ebt371RFQwbj4iMUk0eacYvC7l17sWf3fqx7d4N+Z+u4447FySefqB0weTF577zGom7nhZOIWOZCzJ2uc6h/otdnUFKB5mU6ZlAEnEFhxW2TkUOrjBCyRGvXBiVwri0eTjgzvC9h4u5LHg5nentvBqUZhw7Va93V80YYpNeDouPnoHrhkdj1+As4tHQ13FJ3rQZnzRR0Pf58P4KppVImpMqHjMIbGlG38l09a8XnCmD4mceg7Ng58Idc8NXVI+jz69k0nA+lPw1DpH1v5ps9bC5zsLy48CbqiPRbUmYSfzi3EJ5RIzD0lONQdtwcVTCaV29A3VsrUff2Owjt3Idcn5Q3Oyux01FyD/hOb3qtNFnUDsbB5TnrzassDpPhodzcuR8NS9eidskatB1qQMHgUrQ0tUTcxQflb7pmUAw0B4VtzqBcqDMoy7F+/UZtxyZMGchHZlAW6ccE+RFX3R8m9j5/AP9+6hn8/g9/wr+ffgYvv/wa/vHYP/Haa2/g+MXH6xeTH/3HP2W0T/caXAcwfi4n+SWcthYf9tccwCsvv4oXXvwvPv2ZT0paPVjLD9OynujP+IsPusrMoMQGFYr+C5OrMSjShizqDuz+DyN1SEcfk4m7L3k4nOkl2UcrPRq5KCwlg2+MEV5prn7p0HJnTUaVjDibN+/AhgceQqCxSUes9He409/fyOQHR/Kegw3Y/9Az2HrfQ6hdvxllC2Zh1McvROl5i5A9voq9kp5Jw7NoenPmyV5GXFYI+kWRys6Bd+xwlJ91PKo+eiFKTpoNX+0B7Pzj37H5vr+g9s134PJJfeC+D5v/dFFf1Rt7PNrf28yobGT7gvDtOqB7axQRu1jUVfvqdttzQpi0Kyed4PDPQQkPYOQ9O0zhQvfhXH755RgzdjR+/3+/1/CoMAS4X8bXJnUgMpsi4L2acX+VKCHcD8Pn4VUyQM7Lx759+xCQOqqZJ38m77oqvx7JITsRscyFyL2VgoEFsm9Hp+eevsVDGjFiBIYPHw5xj8LCQr1yU9Dq1TJq8vm04hM6okzyLZ4o5D5LBFeXm2SfeAk8eMtqcfRDZTF9UF6t2wxSRF/mHQVSut/iOfqoo7Bzz15s2bQNORNHofrURdi7ZAUOLluD/LBHD12TMVenuvy/jIRlLpbMNc6cwM9XscPwjhqK8snj4CkvRrgtgNadu9EoCmCbdJY66vdYb+0R3GxMicJ4AtQX5EZntSLQWxsDjIZu3NLhSO8FLsC4yopROGo4SseMRlZxAXx1dWhYvRFNm7frrIgr0rlpOLawM2gHlQbKeY6aDbTTT/EtHjvojYoB37L53e8eEPoDnnjq39qeTZicoamsrMSXvvRFrFy1Cvf/6te6OV76LZx/7jlYvPg4NDU1adsfNKhUZEIennjiCTz6z3+Jb2vZi/Y33XgjrvrQZbjx5lvwysuvICfbi7u/cRdKSkpEEdmDpuYG5InfoUMrUbPvAB74zf9hw4b1OluTapWgbOrxJtkuwFDtIQ+UTbLO3Oj0nI5zUCZPnoyKigpdu6uursbGjRshDOLFF19UhUMSqG57VUHpp2/xZBAHzppohw5HHJUjCaRfQfHjqKOPxu7du7B1+zaUjK1G7a79yG4NWEsY8mclg7ymzu//OrjRVpULudcNmUKcXueCi7esBNlVQ5EjiotHlIlsjwttu/ejZZMoLnv2w9dQp4qENyuyqGavTxJmUOx8riBCOSI7BpejcMQwFIwcCnd+AQJNraL47EPTtp1o2S0KEBUXvmpl3rDqEFgG8UC5nnYFJUIsRA50s6VTd3PZ1g5xQCWmta1VZ0dM/IwyxKUZGRTTTKoAAv6g3NMNX3+XX6TTIX8cPPuljfMVZX7agvHyDSEu79De7bZmWRghlQvKF4IhWKEkj4yCEkWHrHPmRqfndLxmPGXKFK0QkhBMnToVL7zwgl6poFBpoTnRSUFR03YwrGReM2Yas8LZop9koW71Ozj0+Eu6CUwiog/wHIJOgfcAsXhNFj3x21OYuPuSB2dcnePmt24CGJ5diJOGDsJQERx8TVPLWWyDHi/+sXsrNrT5kS1DZRUoSTJPIRDvNWP9H3ZJpyZxSHgBLsNGhBX/y5hZp7UZlZ//yJMIq0ULF4iCsltfM7bv3s8gPpifSRaZwri3SsPhl7JAlRYpm6J8oCgXOYWF8A4ug6e4QF+pFeEk+oVb5QGn5AMhKV0p+1BdMwKHGtFSV4dQYzNQJ4OlNpEffJuIs7qRiFLltzfQH3jgeSsjhlfpAWm//e1vcbD2kLV02QUo942CQBgFhTByv7dhz7ue5GPM+hcHJh7nNRYog6jI9VhB6TISy8pYZxSUCIR5XcJhAbAg+CwJ0auEE+0giHTNoDCNCRWUXgBDV771qWNOG7vDD3JBoSJXzUd7kcuz5pHTvO/AiYegdP6jSwtwW/UwVOe5pb5I50PWxL5VyvpbK9fglRZuOmS7Sp7XrmZQwhIED9JiaGHp1ArKStEmwtSVK0JDRtnlg8pRs2svWppbUF5VCe77a9lXgzljJ2Dr+o3Yun1HdASVQd8jLPXWLUXJ+hOQYjAyQocy8kfZYqCzMVLeXNrhxluWOuuXdrW0U1cZ2FFWVoabv/hFHDxwAD/60Y90doFKXFd5RRmf7hmU9ysyMyhRdKhSztzo9NxTBSUVdFJQLOMoKHS6M4Ny8AlRUKi1Rws/vQqKydFWGaVNvfJC5FVWwOcOwCMdKwWgR0TfvleXYPdzr2iDtSNWOnsT4aDkVYEPH7nAhbMX5klVo5DhuZaANyeMB59ow5+faUVDa4Eolqyz6eXOmd5Yz1RQJhXm4MaxwzA2N0e3DLFDUUj+fW3VerzZ3KYdku4xiFglQlczKAQnRQiaZUvY3FNv7BmPvkqskKs4llaIY45aiF17dmLLtngnyWbghClz5+SXtFqLInnOMm8vHQs6hyV/LqkUqlBEQHfROpIEDA+x4LTrym1foa94MHt1qLhTVvFNmCuvvBJPPfUUHvrbI1I2wov8k07JcpgAmRmUjtdYYH4yr3usoHQZiWVlrAeKgmJv4/0PZDUO6eyKoQTQQrG7TzOpoBVyS9k25QRQm5clHZoHLR43mrNdaMnxIMDpf23dnf06zXqTQq5WubrgCbr0A3R66HYkARxLZrmz4RdW9ZVIh990kDPMuM9JtlN91dHmPxFpBxfjnuQRpYSULWFyRO4XQ57QyU2XYiz/xBH/RHhzH4TVjzLfyGxqfPxPkmRiKCg1Tg8fC4pAzkZpaSlksIOxY8dg1sxpOOHYo3HOmafi4gvOwaUXnid0vl4vkefzzj4dp5+8GIsXzsfsWTMxadJEjBo1Sv1zT1uZhFWQl6+vtQb9Qfjb/PpGBeMKB4WBCB+sY13V7UR19HBQb/MQlnLh6bW50nHxiPjvf/+7+OIXv4jVq9fg6qs/ioceethqBOLW2W7iUVfukg0jHWTPu57kI/0m69+4c15jUdrygohlLiQxKA00OHnu9Px+mEFJdg8KDy7y6EkVDL0dfK+ea9eRsu7kV3mRf1RDqz96EbKqhssInJ2/xCUqYLYoKwdfegv7n34BHttoglC/1m3vQyJj51pQ6MG1HwDOOi4bgTaO+jVV8Oa68Nd/B/CHpxvQ2Jwv+cG8TC93zvTGej5cMyh20JydH0d73OBdmF+AfXv34sCB/dIxTpKq5Ma2bVswZswYbNu5A1u3bY971P3/KpiHnGXiRsXR1aMxceJ4jJ8wGkMrh+pocdfuvdi4YTN27tiJnTt3St4e1D1pbGusCVwaltGZ3nNzrAFHmxyVFxTk61uB/IAb36zglWU1pKIcpYOKxW8YjU1NaGpoRl1dk34jZa+U4f79NXLdp0eUi8iCS8LTPScRJKqjhwPp4oFySnNUyoZL7FQSJ06chHnz5uoHXbdJPX7kkYexfft2ZOd4xXHPxrCZGZSO11hgWWRmUKKw33dKTqfnw6qgdGDVKsju7kGxfyyQ3zuxg8HxC5jf+tY3sejoBdEGRDCuV195DV+546vSueV2zD0HOEirvuYioCsFxbnjvI9hKShuUVCyREHxioLSrpB1UlB0iafvEaCCUiwKypjECkow0oElg672oDhBeyozvA4eNBiNjQ3ql0KdApeCtqW5WTd71xw4gC2bt+jriQoR6jy5Urxaj/o/OR4HIkzRiKCK5itnNU4++WRMnzYV9fX1WLp0iR45TsWAwpiKuiogbPUdMirJfIpWiNjQsyukbHmOCcsqJO2RSgyPPBhdPUoVS37Nljy3tPiwafMmrFy5Sl8T9ft8yJGy1s/4dx1Nv4GdTXsOGnPWc5ZLfl4+Zs6cIQrJPMmLKlHc6vHyq6/irTff1P1Vmm5baD051JJ5a5RJA5YF+aBdBu3I7EGJokOFcw75nLmTlpNkJQHaQHhIDu9JsaCZaD9J1uSqIYEesiMIy7MJJtFJss0btkkLFXN2IBqW5IFeSdYNp+yPOXYhKmUE1iqjOH63gUSFZ8vWrXjh5ZetkVbUn4ME3MNQcuQUZBUX6SuOzGny6RZB17JtF5o3btXzE+z+ounoKwKn1l2YM8mNidUeyRY1VLg9WVizIYSVG33w+bOlLPgmi9jb/feQEqWX9qJeotzrwcKyIpRJnmtG0p6QKvb8voPY6Q/qermeYWHz3xWxeuqbNnwWBERYKhzuSKw7QSqZUm8bmxolP/xolnrBQ5n0KgqvT+45y0LlZW/NPnzu+s9BFHqccPxiTJowHrkicPbv50i9Tstdm0eMuAY0SeFQzQhIO+HZFB/+8IfxESEqaC++8AL+9re/4fXX38DWrdv09U6PDCbc2dI2I20x+hZWF8Q6Ya7mPhExfHOcO7/DwtdRqbQcqjuErVu2Yvnby/Hiiy/hueeex2uvvYYDomTyE/onnXSiluHpp52Giopy1Ei58oh0Loaz/FR2OeLqC2K649Xz9lvJS/kLiJxtbWsRgywcccQROO+cc3DJBz+oSzdUyvi9mOeffw6PP/4E3hDFZOfuXdrEmE+2wHpOAna8JGPGMmA/QPRVXnaVd71FJk7nNaZbtiGpp5RNPcoTIpY5KQJzS6VxIJwka2Nd0em5pzMorIw8pI1EcATKT2FzJkQSpmYGbGB9/xYPR3DCZ8iPr37tdiycPw8+2wwKeXrt9Tdx5z3fgjdHRhcOnuzoyQwKO9tWdxjFbg9OryhGdW6hqLVWZCJmkSPhPL17H5bzg2Bi7CyoZNFxiSczg0IFpDtgrDyojV8z3s2vGW/ZoqN1hstlAy4JFYmiypH6sYuOxajqarzyyst4/J9P4GBtrTVaYu2SwrRU2YEDpl1J8r5V2tV8aTNXXXUVVq5cicf++U/ND+a1s30PBLD8WK7kn2+ucMaFZTxr5kwcPHhQD/SiQkO5RmHLgZBBOsvS5HEHMD+FP0bBFS9VoIMh4cODyZOP0G/MHHnkkTo65llTLI/3NmzQN2/q6us1bX1ZLoynOzMotNFXx6Xh0x15Ju8GeiuOTAhsw3SnYZJsbp0w4XDJUGc5u+CjL8E0ZmZQFB0Kz5kbnZ7ToaDwVL9FixZh4sSJeOmll2RE9boqKiwUOzopKJZxFKxc6d+D4lBQ5iVQUCLmnSBhsJSde1DC7qyIgvImap6KswdF/rED5rs0o7Jy8PmxwzGnrBBS6uqCdu7sLPxk3Ub8s65ZGpdo2/E5iQ/GY1NQzjwuG8HDvAfFCdr3hz0oicAy04PapPPaRQVl27a4e1C4AZEHPeXkeDF37jxceukHZRS7Rz8Vv2PXLgnM7LUYGNCDEKUenXbaaTjnnHMhgkbPNNJ2yXSkOSmmzpiS6u2cMvERLGcKCKaNnS33vPBcp5NOOgnjxo3TJSHKtOXLl+vsjDQay6PA1C1rYrkjNK+ErHK3Ukd3UTNeI/6LiooxevRoTJgwAWPHjsXECeNFHriwedNmrFu3DmvWvCMK8laVtT5uQO4wQ8FOWB8PC6icxFJQiHh13uN2YfzYcXKXhfLycp2hZN5If4Pi4lIMHjxI0hjQfG9r82H69GliXqIzYqWlJZpH0ilqPujm6bJSyaM10g8NU7+bNm1S915pj28uWdKpH0oHTB1yXmPB1K0eKyhdRmJZGeuMgiIQhrWCFRUVYfPmzVoxr7jiCh1tjh8/Xkcj3KgmCVT3nRSUDqxaBdmdGZRaniRrU1CEs8iVcCgoh3EGhd9xGSb214+rxDwZffvZMxMiYdxeN360bgueOtgitSlyomU3EA4HUFBABcUdmUGh8LQSlc4ZlCxXAIHSMriLy+CSvGAcjIVLeIHmRuBAPVySYVY6rA3IBgN1BkUagGWZBKigz5g5A9d89Br421rxxz/+STq7DcqTvUPrHnfpBdNKYl6JAMJZZ52lX2/9zW9+i7feekuXT5IrgfcXWPWYJxyNVwypwLQpUzFVlBcqLkOHDpUO0oe6+lqRcfW6+dcnMoidJsuXnbY326v5WVxSjPyCYqmfXj1incrrrp07hHZi+/ZtuiR14FAdNZ0OdaO/g3K9OzMoVPTHjR2DmpoD0l5zMGPGDM1DnuDK/qS2rk7ytQ7r31uvYXFvETf4viwKCzdKT5d7mnHvE/Od8a9duxZz5szRQxVpTiWTG6hf4tJ9P8jTzAxKFB1EiTM3Oj33dAbFCXYMEoYWCCuvHZ0UFMs4CvrtzgxK1+egOBSUNM+gdFJQbI2V0HTIP4ZLxaNdQSkWBYW2tM8SJcyFH4uC8u/aZgTEnEv43UE4ZBQUT0RBYUBWPGmbQRGhza+B5p24AIMWzdWpaA/3usifS9LfuGQVap95Ff6WVi0jlodRQMjJ+20GpUtIXgVEWeHo+MMf/ogKjn//+0ksW7pMl4Lc2R3fMDkcCEh7rRo+HB/84Af1680/+9nPVJli50EVM1o2vQSWEKMwJdXL0UXjM3A+xwPd2etxVlAGElyLkTrGH+UBzU1gXOLTP2kDnBHlB+oMLB+RZ3WvPgccqBzEUlAIpjsWjDw0sLdRvePSjJjZ/UefxYHmGh1GrNWOV+sx6o9Lst0WpAlgondeY4H8ZWZQorDfmxbQd5DEaCfhVE5igqzGIZ3JMJQAnJ1wiXQwZA+nEyVCLD8kXhyNJiYc/jQdAnNNDBVrncJJntiJstiZEaQuQGkbKwwBR40t0sHra5zNTWhpbEJrY7NQK/xShemVZ4qQ3xxW/0gCgxJ1wC3CV6404hkjahMJO1quCbLRIJ3noKRECjLJUORHYed0kwxJp8RN4Zu3bsPX7roTX7jhBhntvYsrrrwCP/zhD3C1KC1jq6sRDgT1/BCtyxGK5lUayB4uycR17MJj8N3vfR/nXnAh7n/gN7jhppuwbccOUWZzpfZQfe8cVrrJpJPXdKY5HjnjSDZOujMyhsozFQ5u4M8SWZclAw+XVwZl0ll73bnIdueJHTeluhAMhhGQ9uQW2VEqCulw6ahG5+ZhtMjJqtxsVIhZoagwLj/PkAkh5BdlRxR+zjtmIQg39y1K3Ga/O8vNztfhoq7aV1d2vFB0GOKyoSERsOrA6T/6LFB/8mj3zwMzzdWYm7B6g0ydcV5jUVd5kRIRscyFJAalgYY+V1Dez+BsAJUUO6iwWBQx6EfgGK074MFXg8qK8J27v4bXX/wvnnv6STz7nyfwzH+exDPPPolrr7ta8sFatnEmO/psoh6IraaXQEHFJaiamhr88pf34XOf+zwe/OuD+oHNL33pS7jnnntw2WWXRc9n4VsxWt96mofinwpnc7M1HX7ySSdKXN/QOOvr6nCDKE333fdLUUjF3iuj4UyZJYbJo+iVbzK6EQ76MSonhAsrS/GliWNw+6RxuH3iWNwwdhQ+OHQwji4uwLgCL4bneVAlNCEvF7OLC3FaZRmumlCF6yePxJcmD8dtk4bjc2NG4ZSKIajy5CLcau090Q7ZirHfwpodOjy/voqd0i+pn7Rf04YTDm7/B+HMkU7P6V7i6Qocj6VjiafT14yffKmLrxlTqZBON8klHicYovIi//r9Eo8E1/Etnu4d1EZBOKi0DJ/79KexcOFRaG1r0o/s8fBxGQfikUcfxR/+/EeULD5aaB7cvoDOnGhY0sE1LF2J+qdeQ6ipFUFPlow2Jaci0ZCTAbnEs3WbsJb+zXYG2vkEAhhSUaF7HGbOnIXRY0aCB22tWLECy99+G++t24CGxibhQ0brLikLl/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EEyHlTWCuicHmLbCF4SSTXu177aRIyGE7upFfiWC8WF2mLZDIrZUPbLAR8wQY8Es8SRKPb/d6c/RgLSoRDzzwAG679XZ8+ebb8Pi//i3mzZgxYxYuv/wKXH/95/H1r38NP/nBd/HrX/wEv7n/5/jtr36OX/38x/jet7+B2750I6699mM48cQTdKPvk088iVtuuV3oq/j73/6J7dt2ivLiQTaXIGLw0lNqb4/JkXHPa6p+41FX4TjtEsWpRS/kComCGs4WBSCMIl8rPlpViR/Pm4CFlV48umMfblixGT/atBtvHmrAgUAbgtlZyBWFwiOjDVXgNTwTYMc4yAOJzjyifGZl56BVBnO7WwN4s7YVP99xCDe9sw3fXvce1ssA66xhw/CLmVNxx4RqzPKIAiQKaVgUpayQ1xFuD9pAAorXvnRQkCEbdc6jbhERy1zIklQDD06eOz0PxBkUlkj7Jtk1OPDEa8hua0Z+jl/8cOVcFAqVOvQeRJPPg9ZgNu66/as4asEcPYyrHS68/vpr+Opd9+LsyhLcOnU8gm2cpdFyR9gdxN42N7685j1s9wdR/bGLD+sMik4tukVIZnNDryjGFEAMPTJqCra1YpA3C9ecB5yzKBt+vsUTyYu+mUHxoH7Jahz8z8sobm2E2xPU9BlQqDX7vRieU4hbxg5BdYGEyalxw0d/mEGJlFdaNsmmFdKCIsmx0iW1wRhI+evYnjMr8uiWkT1PSg1nST3VCtg+itP6plcq5VYec9Stz5aTHoHxJ1tmhHHPK5GK33joigenXVduud/EI/WTb5M1e1oxO8eFT42fjPca2vDnDe+hVtp+m7RHlwxQrRLoXh3pigc76I7f0mJF8ARDyJXCG5Ofgw9UD8aowjI8vH0XXt9/CC0SWpbLJ+2WXKV/lszAOYMSSGKT7P8a2EaZR9wk2yMkqNS0MtaZGZR0gKzGIe1TDXUFaQSc0p43Noy/fLsYD32rFA9+sxx/uWcw/vadcnzr+nKMH5WHNp5QK8LaEs0d0R4VRzpCEmaAG+CkcbtCDN+FoFv8RRochXq7uHegPTCliG4QvSZGhENbGHaSqoJcGbmNuOoCjL75kxhz0zVCV2P0DVdh9Oc/hLyxw7VBUKGglxjJbYekzxl+J+oO2DG2NuNL1w3Cw/eWSXmU4a/fKpFrMf76nTLccHWJ2NdL9FI9wxzFx6+mqY4ANfdi3CeiosIizJ41G2WimJ1y8slKI0eO0r0bDKdDfewzkn+2Z/MYkjzhPYs2x+VGkSh1g2QUPUyuI0SJGp+bixlFXiws8eLU0mKcX16Gi4YOwsXDBitdUlmOiysG48zyEiwqy8W83DwcIeUwXJSbQgnHI3WddYibO/lqvWRBBx6semOo3c5Qqnll3POarnzuKhynnf3ZbEBl+3ZL2w9KGgMeH04blo9fzZyGyvx8fHr1Wvxk8w7s8uaIcif5JZnC2YuQDJpMOKlSsukmf7mioXhCEleWR89h2igDqu+v34UvLFuDJbUHcXH1EDwwewKuHjYUQ90efcMuxF2lkhbGY5Vhzyle+9L2Esfuf5HSlhdELHMhiUFpoKF/KygmV2MQZV/0uStIa3OLgkIhQqkSEI88EM0vioafqQ/xDAeXKBrSmMNuceJULeSZnWQWv23LiMW1tmAJU/xTAHGWJCydaJhhixN2/taMQQzY+WZwvArMNTGs2SNnOIYoYMxgWDgTsuYeOOPCsVJ2wC1jOPLOfLFG03GhgfHaBXUDTEFW0CP5GBIB7xFlj18OdsnVLVe3qvOap+S/SwaZb0nwaCPNvRj3iaihsQGr1qzSjaLPvfA8/vvf/2Dv3j2qk6pe2gcUlLQGhLiiKNURXun0yr25mCQj5IWl+biosgyfqh6Kr40bhh9MH4d7Z0zBzVPG44qRlVg8eBAmFBYiX+prXVsL1tY34eUDDXi8pgYP7t6LP+/Yjz9tq1H6w/Z9+NOOGjy6az9e3F+PtxubUCcFMSzXi5MHleD6kcPw7ZlTcNeMSfj8yJH4QEm5bubMk5F7SJgLSvvwuYPS5qTNxCifDm03CTLueU3VbzzqKhynnT1+vyuy+TuQhWIZ8H5yTCW+PXkyNje34TNL3sF/DnBWTjp8V8BSTMQPD4bkQFVPFY+ElSo5eYpHGp8ryNakbZ8yzsyAcXDVJHXn91LGVy/diD9v34tpoqDeNWsCbh5fhTnFBbrklO3j69HijytWlGOOOJKleO2L5l21PdYZHk0Qyy5VYjwBCYufSAmG+eX22O6SIfrV/OWmOJt5LDLxmLi7irervEiJiFjmQqyzpIGGeN1o/4DJ1RhEuRd9jgNasXwSw5RkH8DOt5CmQ2CuiaH6dqdwohQDJnXJxxGBtkheu6DuIOKPeh5H4lH+SPIvS/7RPFkYgacNnd66IPtopeuRi/Al1yxLU6Kaqqd0trS0wh/wq7DjeT66TEL3nEZQf6mRdmbCB3OBywXsGBgUl/F8kVeLB8koeE5JPj48tBxfGlWF24+oxm3TqvGxcUNxVGkesiUZq+sa8RfpcH60YQe+tn47rl+9HjfISP7utRtw/7Y9eLSmDq/UN2O9P4iDkqagKCr89keux4sCLqvy3JoI5bqzkZudg+zsXMCTi5DbjT2S3iWinP1jXy2+t3k3vrRiLb6y4l38YMMmPF+7F0XZLnxo5ChRWsbj1glD8OEh5ZieUwivKCxt/hD8OhNmpdFKd/vV3Mcj09a1PCL3PaWuwrHbUcXnMzdyc28q/FmYX5iPr00ZjQ+PHo7Hdu3AF1auxbp6P/jtH6I3ZgfSlW5hUmub1+UXxcWDZw7U4Qur3sW9721Cm68ZHx1Xha/PHI/rqofgqMIiFISy0Cb1sFVGXn4pvyAHFeKfPx0IxYojQvHygebx7LiJu6SwGJ+49joMqRiCgrwCeKWO5mR7UTG4HIPLBulnJEYMr0Kx8Dd29Gjdk1NSxPtqFBUUIi83D8OHDdOGRP+nnXwKrrn6akyZNFlf2fe43BhSXoExcs8whg2t1P1W1VJ/GUfQH8Dwykrxm4+yklKMqKpSN1WVwzBE7M8843T1V1JcjLycXJQWl4j7Ycobr9y/JRoWxo0ZizNOPQ3HLTrW2s8VJ7/SVl+IWOZCEoPSQINzQdSZhrR8LDBZaCZK5enpxwLZmLnWG5YRQ2BvDVre24bhZT6cMJdv4Vie6J/ypLbOhdfX+LDnQBAnn3A8RowYpnss7NixYw+ef+kFTCwswLFDysiElruGJX+N0nifrTmIBqmUJXOmIFsqL9f1OfrXeKQT6/JjgZGgODYrkvQfNagQVTk5Wp8tK/lJJ/XGgUPY0OpX8055YygoKS8rRd7EMfAU5EleWCM+gq/+Nq3eCHdjHWZNzsLkkR7R8C1vRLIfC6TywDXMBfPnY+TIEZIdnP8Qc3Xgwtp167By9Urkjh4pVAWX5AvTqZ4l09t2S5ms24RT53kxvMIlcsRwKC6kCm3Zm4XVb7fguIrBGCSdqIar/gViz48Fbm/zo625RTpxvpHCw85IHL3L6FHioJKjfmzE6pnsxwJNV8OZp/I86bhFUOdJmbikbpR685AjPwrTIZVD0djSpN860ervCCcRSQw6ug0wj4SfUUXZOH3IEFwsgu7EiiLMlLqQLwJ6d1sYrx9swLP7D+CFgwfx/KFDWFJbj/Uyct8n6W6TkPTwQ0k7vzHC/VeSCxoNYalAVgnxn3WuhFX/tGw6kHQ/OtqXcomY8eKyCtF6FmI83Hfjk3RvF6VtSV0dXthzCC/uq8POlhaMyMvFyZKW86rKcGJ5gdTpfLT6fcJvE1okmGxRlLg7gWFxhcGEa+I0xGhpbviM5SadZCXTqpPMh5DU70kFRfjY6FE4o3IwtrW24v9t342XpHNvlFzmZwxSnclLlUwexLJLhcwt/7MO8Ofhf5E7+6Ruv3XwEJ7Z1YA1DY3SQYdwTPkgnCed+anlhThhWBGOGzwY+aK4bjxYr/vB7HWkEwlYJ0nGjLMPRoY72yiVHr7G/onrrsPmTRtxwvHHo76+DldffRWmTZ2CIUOGoqpqOE499RS8++5aHHPM0Xpy7NlnnYFTTzkJ7617Dx+75qP6tWoqDwUi/957bx0K8vPRJmV20YUX6Mmy1WJ/2WWX4u23l+PKKy7X6KdNm6rfW2J7/9xnP4tCkeFerwfXXHMNlrz1li7p8vRknux77KJF2LVrFy6XMNjmzzj9VA2D8nDK5MmoPViLurpDGseK5cv1lOnWtjZNeyy5xHRrPhnZ1F0iYpmTIjC33POS+VhgilABat8ka8mIKCTszhsb5T7eUfeScWjgJtl/vYR5Yxrw9U+Uih2TGNYlGKl/2LTVjR/+tRnL3/Phm3fegaMWzNaRsR2vvbYMX/3G13HW0CG4ZdpYhFt9EeVBwhItZLfPhS+/sx672gIY+fELkVc5HH7p3LmJkwPw5I+6T2aTbIuOYpwFFYV0Vt6x1Sg7+0TkiDKVFREGRFhGBnsffAre3Vtx1QUunL8wVzoMK9+JZI+677BJ9pjEm2Q93CSrDMu/HA/qlqzBwcf+g29+Ih9zJksHLZ0zy0RdyEjjuZUu/Pk3B3DblAkYl+uV9FKYGns3vrpyAw4MH467v36HJWTVSmIWgbln9z7c/8BvsWTZ28jRTWeWP4INhOeMsP6QuFlPGlLEtiPILnkuEME9tbhCeGxBU8D6wnWJ1E/OcuxrbsLoObOwdecubNsSe5MsY2cdYP5waVCnryV0v/TIRRLegiFFWDR0BAol3Wub9uGdg03Y3sJOXEa4IX4B2SMdiHhmXYjkQUTN6HegUsdlKCJL1waomFpLUlxmLct1Y6QoLZNz8zGuKB+lRXmobwniHenol9c3YCsVTvbEoihLwuHmpxDkNsT9XQKPlBWtWS4Mn+2Cz4xHBE/0mcoO6yE7X4JLhXTDJx008CcBa31Vt1wSoWupi+I5EGjFEOHhOGnvxwwdhvrmVlG6avB2QxMOyQDIKy41HobHCN5HYHlRKbPyl6kLg4vbVhZKPku+sRPn3hbd/9UFKH/5mjo7JYOAKOFO+WoHO3z6aW1p1Vfoec+vM7OtFkqnxjYu/Y8SY8+VgRJPYj75lJP1OzwvvfQKdmzfrh/qbGxs0rfU2O4ZLmdA+V2epuZmVSr5hXKGT3nGV/d5WvILL76oYZeWlMAvfikneOxEvig5HEjxnkpUSOomjxWgPWUIeWQ2FcogluEznQyX4bhEhvBo/q5APnq8SbYLMK/spZXZJJsOmFyNQdo2DMUBrTqkNi7oKjmXPYadbyFNh8BcE4PiVWALowPFgEld8nFEwM7GGb6TkkRHbyLkRMopT9LAo/wJJYbVPfPsiLw8UWZzcvTIdSoenG7NlUbO1zbVZcdIlTS2GPedKHJplM7rjf/f3nUA2FWU6++27T2b3hupJCShdwhSRUIXQZCqCCK9PaUl0otioQhiwfd8NkR9FjqCUqQIJCE9kF4328vdW97//efMzdmzZze7e++2cL67/86ZPvNP+2fOnJmqTXhPBtBldc1YHQ3g/cpqGVCrZCYtwqI0bW6W1Ny4wxDiABsUCUVXiWQmPiU3GzdPnYDHpk/CF4YOwaL6IO5bsga3fLAEP/90O96racJ26SpkroEsDtIyMuigIS3VWvVgoK3j6QtEwYCc4M+qO1rSuqrD01QrpA9/r7YB/7OlAvcsX4eb312mrxael9lmneRv34FlOG/McNwyZQIe2WsKfjxnJhYIry4ZORDHlxdhhgxQQ0QGzE00IBirRUD6yoRM6JqlLsREbOB+pqRMTCwSdkuZqPjJwTbBJfawuJfBhSRpichAWR5rxt5Sj84ePhD3TJuEJ2dNx017jMfUony8ua0Ct72/GHcvXYNXJN1VMumQKVhqX4ZWsx4ir7rcHaQllrSFO7v9R6QcIyKQRCIy0Icl8yxPtfcOw1Bb7YvmbdlxlSEqkwDGw/0bjdEmXXHh6kJDE0+urtWvLOmOEzWeYt0k7v/05z/jF0//EmvWrmGL0RVN3ccihRQTd80SBlehK6Xd8hUtwzVx0d3SZUvx0isvqxnjqpF4GiU+xkXe1zXU6/4zxsnVkKhMLupFzzQxfobB1duqmmpNL/0wnGoJp6qmqt3ya4sXnSbCy1xIYlDqb+jbAorhqgex7aT0acOUZOYh0qVNtoEz3UKaD4FRdw3tGlqFkyIPmNy1jMN4aCffbFXGWVvUATAYbtTjqpXljbMOzo5t3oiZobSgHap0SvaqpdfZJBqbx7ObqDC4kARnHdlPQYEdj3R08swZO1dF1CUTzmebuPlXXCAZjyBXAjmqLB/f32sSbpg4Vjq8BO5duBzfWLQUv5UBsKJJZlsyYdED62RgILOs1FvBKRxh92fiF29ZiRDCXKmQgSMuAx1XTGqbE9jS2Iw3d1Tjl+s34TtLVuHy95fgkvc/xC0fr8RTa7bixa07sLS2UvfljMoqwb6lwzC3vBxfHFSOy4aV46qxA3Hj5GG4fdoY3LvneHxvr4n44ezJ+OGcyfjBnCn47sxJuGvaOHxrj6H45phynD20FAeUF6M4OwvLapvw67VbcdNHS3CxxPnAqrV4ozqKrfEAGijXhGJSB4REb/Yk9TRp2+1n1Fb7onl7ba8rxAmL3mXkYdcR3mU6TSZOt+pFGYuX8DIXYhdF6m/o2wKK4aoHtZBI04YpycxDVwiUbANnuoU0HwKj7hoqb7cKJ0UeMLlrGYfx0E6+2aqMs7aoi2AurDUUR/pUlzm0qCM2Kfc8ntsjdzjUW2m1Uq0/TqflT4WLYBBzCoMyKI7D1yaMw+Idtbj0/aW485O1WNfcKO6kS7LD0gclhtux9PRnsl4htJ9PiyWWG67KcP05mgyjIZCHbcjF0uYk3qquwcvbq/Drrdvw6IYteOjTDbhrxVp8++MVuH7hUlz5wVJ84/3FuPy9hUIf4ZsfLcYNS5bj9pVr8cNPNuO3Gyvwz6oarI5HUUdhSSJlue4sFzstonjVo56mvpCGzlJb7ctuMZ523UG9wTsTp1v1oozxgvAyF5IYlPob+raAYrjqQey/Uvq0YUqyB+BMt5DmQ2DUXUPl7VbhpMgDJne7ikPmtRpGQrfNWX5MuPTLPTXOMFJC164g7rgKof5tI+bCelljmaXiSwfsBfRdCKs136FTT/Od5JytpDVzUTDF9pJ4PIRIMI5zRwzAfdMn6krB195fiPtWrsamZALZHPlk9t0YiAh/04j3M0isc5Ywy907MeE3V7GS3J0ndkGpVzwmQJ7t+pki6mku9YB7T1j/WA+5h6VZhEjuU+HxArrXgsHbpHW8HX1vUF9IQ2eprfZF87bsuoN6g3cmTrfqRRnjBeFlLiQxKPU3+CsoClOSPQBnuoU0HwKj7hoqb7cKJ0UeMLnbVRw8cM46+yCKgaEYDiwuwGElRUqHlhTgwAF52L+4GEMCOdbUdhfhGezKWSp9qksXO2NrUUdscs5W0pq5KKxUU1ArDDTiwrHj8YHM6q9YuARv1jUiLxJGRAZEdSV+rJUB0fjUKTLlSNXrWXv/1LOQB6ySssjpVvUu7AzXIre+N6gvpKGz1Fb7onlaba+T1Bu8M3G6VS/KGC8IL3Mh1nOvut7X0bcFlD6DvlS0rHHWCsFOygw4p9SthbEIBudl4/pxI/CtCcPwX0ojcPv40fj6qBKMKIwgykHBHnytNLUNNk7nHhQ1k595xZMx6EC1cw9KT5VbMhhHdSCCH61YjQ8bY8hOcJMhY5ccMgkqlfgw6PZSEXZzcy5AaTsi8fHIAalxPGRND2IRexHGubJircRYdZPELSY+dl+kU/fot2d6FB8Gfbs5mhrhQS2WzNIGB5AeGkSc6RbSfAiM2h70k7Z4HEWFBRg6ZKgeHmRo2NBhKCst1c/p3IO/yV1H4nBChnrwKPOdxK8iTMidDMwFa2gwzzspk2hRR2xyLqd2ZWmVivWPCvPAUOQnvNFvG2w7deN+9knJq1zaI+OeqnltZz1b5jzsLilSRiyWQFNTswjYTRg6oBEHTE9i3mEBXHxiGFedWYBrzyrBNUJXnF6Ac4/LxrEHRDBtfBLFuY1INtYBTVK7Y+aVDwNmXHaZptTeoZ6OWwVrISteGrS07wixXbRl3pZdR4lnEEXCEWRnZSvxIk2S0RvioWnOzbPMTzwWR7QpipEjR2L2rNmYPm0aSopL7OMOLHdeRL/Gf15uLkaNGKnPbbn1Ur0oXV6kiPAyF5IYlPob+raAYrjqQew7Uvq0YUqyB+BMt5DmQ2DUdiEzcX6uOu/E4/HIDx7Coz/6nk3fxVNPPIorL78CBfxen+dFOBiTqqcdicMB44fEWWZMZp8JaewcEKyhuWM8Y+N070EhUhuI+WxTWtDE6jsq0fCMC9EzQgdpbB7P7VMS+aEAppaVYoBk4tDyMhw5bAAm5mZJB8jTNcWNvUnWp12T1sNOEUuKe3eyEQ/x+HzWw2YZkKpx4HTgWxcU4md3DsID1xTh/Hk5mDUljERzAh+vbMbzbyfx8+cSePh3NXjo1zuEKvDDPzTgVy/F8ep7UazfmMDgwgC+cEiuhJOLn9xRjnuvKcPnD81GcX6lxNskJO0uyAsvReVg55nG7qXO86wrZD0EAzHwGoxAPIDc3CiyIzE9VC+k9/u4/bRNbbUvmne87bUkKmzdPIByjwkTMGfWXpi91wzMsYnPe06bjC998XT899M/xRGHHYJoQ4P6ScSaMWvmNPzhd/+LOxfcjpxICCuXL8X2rZsxcvhQDBkySPtOjYRxCFk9iRVfcWEeLjz/XPzp2d/hN796Ggfuvy+am3h8vvSE7OTsNJJMeblVL+oqL1oR4WUuxC6K1N9A3vddGK56UAuJNG2Yksw8Mv+ZsXiTQT0Wi2ljSiTiqsZ5EikblwdM7lrGYSegm/LthDNa53PGPzNW7IyhRR2xSWPzeG5NVpkFJRAeTlUtPF+1dQe2iTTyr21b8PKmCj3Vt1F4HmIr8gzDJy/yKheSsNh+sBQKfqzSPLettKAWR85pwJ2XleCp+aPwzTNLMHl4Lt5ZKGZP7cB53/4U13+vBk//JYT3l2VhY00OqhoiqG+AzJZ5yjBXWESYjAURj3KlJY7aaAjbxc3yLVn4y1sR3PXzZlx421rc+MBW/P2VGgwdkIUrzi7Bk3eNxDVfycPssUkUiaDCNUoesUGpva28ZJrSi8dZz5lmqbCi6t1hwt+ECCIi1iMv3IypI5rxtTPz8OM7h+CWrxZj8oigHioYFUE8GWxyhLNraqt90bwtu12SDR5+9vHHH+PNN9/GW2++m6LXXntd+8fDDjsU3/ve9/Hn//uL3mDOg954Iu21116Liy/5Km677TasXLkaNdUN2CxtedHCpdi6eXtqtUVSp0TwwLUj5x6J0aNH48c/fgKXXXa5HgLXCo50mvJyq17UZV64ifAyF3Lmpz+hbwsohqsexDaX0qcNU5KZR2qVwATvTLeQ5kNg1I6BgoiDdM8F916Q5NEFk7uWcVBD6p58t4BEY/agGHDWYJKTSp/q0gB7AevTDdHw3BLqab6TnLOV9mYuPGC/tLAeE0cHMGFkFFNGRTFmYhBDipqx7z4FOOqgUowdEUFxXp508uLB5d+ntqlF23UQzxhpliqclRPH9BHA5cdn4+GbBuCGS8uwx+ggXnuvBjc+VCnCyEZ899d1+OAT7oXKlZIKSdHnSBCc/fN+JH7tw3i454RHJVsnxQbtH+tJUs1I1ks6bTt6GVJEPzluDmVjydpcPPzfDbjgpo2479E6LN9YiWOOysNDNwzH3VcU4/hDkxg1tBm5EZkgxOKIJWISGmPiSS+67iLhtc5nV6gtnnmSKkxHRBpdBIFYCIlYUnjbiHioETlFUYwcUo+Dp0Zx+TzJz43FuPuGchxzcB42Vjbiu7+owLk3r8MtP9mB91aERUjkV30yEerk6lFb7Yvm7bW99oh8YHPbSSIscmVXqDkZxaw5s3D11VfhySefxAsvvoDs3DzJdwITxo/FKSefhAceeFBPip04cQJmzNwTk6ZNRNnAYglHJnym/xRyxhMIh/DCy6/gg0Ufi0b4KoZ01go0tMmUl1v1oq7yohURXuZCEoNSf0PfFlAMVz2ohUSaNkxJdh+sGKTTYtpZwe088PNHjZmzGu1YOZfJSKZSMLlTnvUSTH4N2MSNNpU+1aWLnaFpfC7SrsXj2U3sjLdWhLFkVRCLV1PNwserothcmYfX36nDX1+vwvK1MdTXNyLC06LFT5MMAnqnjkijuieFm2U1PPlnh/tZJr0YUUgP0BMD/WosCkSSTZg+NoDzT87CQ1eW48rTBsu4GsR3n6nC5fO34zs/qMFbi7MQQwHCvP5FBkv3p8GdJa+6YailnZRhoBmhnCTq6gbgmb8Al921Bd/47mb87bVaDC7KwaVfHIgHrhmCb3+lDGcfFcHeU5IoHyR1KBRHA++MisZ0kOS9V8w/64MVh/U6cufn8FSZL2t1wyLr+H0ebMjT1ONREeKiITQ1BdDUmEC0IYpYUxNCiWYUZSUwvDSISSPDmDMZmLtfEmd9PoTLzo7gvy4uwANXD8WCrw7GqYfkYnBJHt5bCjz8P1W45s4qXHv3dvzu1UZsr89GOCsfoWBI+qa220dHqK32RfP22l7nSfgjzJ0wbjxuvvFm/PSnPxfh5GXkZOeKpUyOYjFM33NPPRL/y+ecg0sv/Tpyc/Oxbt165GZn4YZrr8Fv//eXmDFtmvDUe5WI5SUpFmgvrk+t4HLvpXpRxnhBeJkLMcVtpLpPo28LKIarHsS2k9KnDVOSbaHrkZjXGHFK+JydiZQfj9dIY+G9LtadErzfJR6v11UGzggCiWx6tENIH6l62iJIY5q5eNoCG6d1F83O2HTWYINPhtKCdqhWB8+Y0tmDwu3AoXCWTJhE5QV8MpYEAjKTFD0PoA8n4zJP5kApgwRbUTSAkw+J4PbLyzC4uF7n5pytspMPcCDyiOOzRjx8LZEIok7GgBFlMVx8bAD3XVGCb543CEUFwC+f3YJr7t+K+39WgyWr43p9QTgrKEXKrdkMhMI7VycYXHqrEy36Dxc57ayrSkRNRqQCx5EINyIcjKEwkiPu8vHu0iju/0UVrn6wErc+Xon/fqEa22uaMGt8Fi49qQTzLynD7ZeU4rYLi3Hr+cW47ktFuHheEc78XC7mHRrECQeEcOy+WThuv1wcf2A2Tjo8C6cdnYPzTszD108twpXi/rqvlOCm88tw0wXFuPHiHNx0UQjfvjgilIdvXTIA118wCBecVopjD8/FlD2SKChsxrbqZrzxn3r84tkq3PvTatz2eC2ue0DS+KNqPP2XZryzNImGRASRfMlXRPocKZugtJ2g5NNabbKHYQcvOktttS+at9f2OkNs41wvLS4uwn/dfAP+8Y9X8cyf/qwrJzzvxoqJbTCA0pISPCXCy7333o+FCxdj+/YKvPP+h7j527fgpZdexuXfuAwDBw2UPnrnSkqKBFb/JeEJr+SxNRzuTR1yq16UKV4ovMyFmF7PNPdx9G0BxXDVgzjopfQu0I7GujwnD+q2XZiSzDzMKx7W0Ka6RnzpmCL87dHReO3JwXjtiXKl158YhP99cDSKRXjRQ7x4dqbOMjMDk7uWfDCmmYunLTAGNlASOxMTI2M3qqFMokUdsck5W3E+d5oU1mwqEs9CMiuJP/6zGY/9cjO+efEIfPULRWiONaA5LI5DXPqXTk9yby8e7LbECxF51D8zqq/YeJB/UwI5aMSJ+wfxwDdLcO838jFlYhZ+/a84rvr+Ftz3kyq88YHIeChCOCJCSDAqQXH1gGHKEx9U9S7TrlB74bjt2nKrK0J8vYRmEWabRaDii8FcrF6bjef/FcOjv6/H/J/U4LYnavCtRytxy6Nbce/PNuOpP1bgz6/X4R//acbbS2J4f2Uz3l3RgH8vacRr7zXi76/V4Vd/rcYjv92GB362BXc9tgULHt2C+Y9tx4If1+KuJ5uEGnH3Uw2462fVIiBV4onf1eI3f2/Ci28C7y0O4dP1EREEs0TAy0JebhjZERE6wpJuTXjLfHQXtdW+aJ5W23MQyyYSDODss78IXsT6gx8+ioLcfNtOYqF9OIR3//MfVNbW6WV+QR31rJ5W3wZL3YolmvULSa7EWJMKO3w7nXRrQX1Zj27Yfqy4vVUvyhQvFF7mQu2kuk+jbwsohqsexMEupW8DLJt2rB0wJdnNCIQQjyXR1FiPhoYmNDY0W9QYlU68wUqFvubpaLo7BpM75VkvoQWHJR1slByEiFT6VJc5tKgjNjlnK2nNXBRWqvn+mjP7cCAbW6qzcfM9O/DeknX4yfyJOGZGDlDbLB1UlnSJ/OSRs7M04u3jxC2k8ZgMjM2N2GdyDLd/oxSPfXswjj84B28tieOm78ss/tEKPP9WM2pqAsiJZCMgAyfPKaF/qgmz1KZkCzqqin3KvPvIHUd7cdLObPRmGnl7Pc/FsfKQBC+45q3puSK8ZOdmIZSVg1gygtrGICpqgK2VSWyqSGBLhTzvgJrViF00TkEtogJGVm4EEaHsHBE0soKIiLARigRF4BBVBme9eNNOi87uNQ1mhUkTqM/W9QFO3nYvtdW+aN6WXadJwhlUPhCnnDIPv/rVbyR7YmgtsaUoGArg07VrcMf87+Cmm27EJZdcrKuiDQ21KCnJx81idughc/HAA99F5Y7t4iWJk08+CRde9BUUFhWAFwhKam2IAC78Dgi1giNOU2fcqhdljhe26kFM/8489B/slisorAwsF75W4CqKVo52QQe7dJQW2F+RmBZ9ts17AiZ3yrO+AFc6UulTXebQoo7Y5JytpDVzUVip1l9SbytXO37V89bKbHzjlgpkZ9fj+3ePwpyJ3D8Q1Zt32Ynys2sKaDqPc4fdp4n/ZJYpDSusz426QTGYiOOgPQJ44LJyPD5/EE45MRur1jZjwffrcfldW/G714AtO5hfEWGCuRIOpRLxr+QMvzWZctSx1X7uTnLH0RNx7or6Qho6S221L7vFeNp1mgS84fjiiy7FCy+8IAKgCHYuN4wrK5KF99//D046+TT89plnccjhR+LMs87GpEnTcN8D38M5534FK1auRiQ7R9vkRwsX460335EJZJOVVgEXWwKhMDZv2Yqrr7kR//e355AlQiNX+HbuI7LIlJdb9aJM8sLTXIg5sHLRv7Bbr6B0HKYkewZaWXsQJne7FtR6CCw/+XGmQqTSp7rMoUUdsck5W0lr5qKwUq0/zqhsuyTCeo5EU6QOf3gzG1fP34yxw4Ef3jocB0+OIpmokWGdDmX2y9chtr++TjyDh5+lcsmjqDCBw2ZFcf+VA/D4dUNw1pH5+ODTBlz2owqcv2Az/ud5YHtdDppFIAnImMFJvBWO/GMDSOl3TaYcqXqVaabJHUdPxLkr6gtp6Cy11b7sFuNp12kS1NXVYe3atdAzTCjwutwY3nHVg6sh27Ztw0svvYQ/PPtHvP3Ov1HfUG+5ldGQ6QrKDGP5iuVYuGghos1Ra7XEDoPUHI9h3Yb1qKmtUbdOO0MmTrfqRZnkhae5kMSg1N/QtwUUw1UPaiGRpg1TkrsnUvU0I7zKAFh+8jOveFLpU13m4DVrcc5W0pq5KKxU6y8hhrZdMiCDciKMYCwLERmim6XT/NUrAVy9YBUG5Qfxo5um4Ky5WcjPiSLGTzgT3Lsgg7+dHBNOj5H842sBPvMLmWAyLv28CFiijzfHUJQbwLQxAVzw+Vw8fE057rq8DHMmAP96P4Zv3lOFr969DU+/0ojaxhzkid+seByhOD/HZI+fBo9tMuWoco393J3kjqMn4twV9YU0dJbaal92i/G06zQJKDMbUiOXm97gnYnTrXpRJnnhaS4kMSj1N/grKApTkrsnUvU0I7zKAOx0JPluVwbvVPrUNHPwmrU4ZytpzVwUVqr1Z7/nd5M1PgcREqElHirEs+/k4IIFn+Jfy2px5ZfKcf+lRTh4RrO+jkw28SsKp3/55/ncBTIPKb2tCjFKfgLLz1Z5M/CEkVk4/agIbjs/F/dfPQRnfi4bTfEGPPKHHbj8vgrc+P1teOHDIOpQjHBWjiTNFjVN2BkmU47KS/u5O8kdR0/EuSvqC2noLLXVvuwW42nXHdQbvDNxulUvyhgvCC9zIbZxUn9D3xZQughKqywMzkjtvWppousBmM+M9XM4SQ/TopeS2fa9B+aJxBrcOwhwPwYH3t0e1gCuO06ScT1ie/26COY/WYkrf7gFlY1hXPPlYtx3dT7OODofg4vjqOf5FvaSNf0F0axqh+uiODP7nvhlDV878VP3eDAqIQENzfIcbcDogU047chc3H7hINzzzVJceEoeBhSH8LdX6zH/Rw24+rvb8NgfG7BibQ5ys3IRCUt6JEw954UrRbpBuINpstE5192DvpAGHz2PdMqdfv1607PYLV7xmFcF1FoDLsmW0lOQZ6tntfUCp7UOlE6DjsHEppCwVVJWWA98b2+tEpiwqRraCbMfw3hnOE5XNDfUCi2DsuDlUNy1drrTxKTBCZoYUxNkG0F7wjK3fGhYtmeLHxxw7c/9bLIcUWM7TBk4qQ2IF4tvll9nHTHkXE5Na2k1BQ1FydMdiXA+2wiJJ27e+3BFAvf9tBLXP1iFF/9di2njRHi5uAwPX1uOq84pwX6TI4iEGlHf2IjmZuvALr3VQDO7Mw/MtyGac79IcyyBxibxEKvE5KHAl48qxYNXlOEH15bg0tNKMbS8AP/4dxPueGwjrv9RBX70TBPeWBRFbSyAYB43/Ia4/pOKIwWj7wJ5lUt7ZNxT7azftqi9cNx2mYozHeoLaegstdW+aJ5W2+skOXmXDh/pt6P+jTu36kUZ4wXhZS4kMSj1N7jT3Ep/+umnB7Zs2RKora0NNDQ0BKLRaKC5uTkwdOjQQH19fTAnJyck5qGsrKxQOBwOyWC8yfbbaWjXGspCTn6h8tWdGA70jdJJWwM+jxOyzIKRCIZPnYyRe06SWWdc/cakT+XldJFK6di3bseQnGpMHhUWQ25SzBa/8pMA6hoSWLk+CxWNcUyZNEFmj2UiVPDMCgYuEpyEsal6B1YsX46hWdmYWJir38vrACsdfzAeQ7VMU5fWNqM2EEd49BDEcvOQ0xxCc0hccRNkMIj4jkrE1+/AmCFNGDU4hkhS0sCEMhpJRzSRxH8+5pHNRZiUm0BRdljzRgQTMeTGI1jU3IzNTQmMGDEYg4YMlBwY+TIoUQRRVVWJ1StWoSkngtjQgTLDjUheJa2SPk2vxJFcuwWhxiqMGxrH4LK4zKJ5OAL9S2ihODZujWPF9mwMiEUwvjBLzK00kNfZ8SSikt/FkobaQDYmjB2JktJiPeXSgGnevHkT1mxah2R5KULlA5CMyxBn54U8b66qEaZux5ShO1CYxzNfCtROIVnaXpPExrVh7F2Uh8KIGAiDmFOmoUlG9bcrKpEsHIDDDj9E3HM4po08Cg+276jRI66XLVsGqY9qbhAKhfReDsJZl7zA034T3FQXlDKONYkJr+23V3ySMalbCcRiYex74CHYuHkt1qxZreF3Hky7lX4nyFIKIbk5QGlRPYYNTGDKqGyMG5aHIUOLkZMbRFNzADW1Uf1MnTf5hgMh5OUGUJgfEfuACiabtzRj47omLF3fhFUbG1BVn4fKmiy9X4TJ5f4/yZDGuRPUe/MlE2DIrXPcNox7k6LO+G0L7aXBbdfZ9HYH+kIauoKI9M0kg1gspvfiED21eurkXTp8pF+iI/5NPG7VC+yDyCMZQ22TLqLdSCwrY52bm4uNGz69V8qAS6Ak/QxR0hKlShK7aCKRaJJ+tUmeSaq37Zqppz8+i3mMlJeXJ0Uci4uMEBe5IC7xJLZt25aQ/CUlf0nRJwsKCpKDBg1K/uY3v2GKCaMSzudW2Wml71UBpUVSrYLcOahYgzN3bg+QQXDUiOFYvGiRDqAquogTDvw8WDQkA6swUefrjCPOgxds6OZAbgxMyACUWq62wiY4KKlOjPWUVzPjt8MLyUAWkojiaic2GkkSzSLZ5IpAM3rUaBkomrB29ad6GikTpenSIB3xyEAYlrCiMmJky+jElGhEgrCGr2OxviYSBhgrC8ykDb1ZkykRNwkKSNQpvyzwZUGY/yWdkWAEo8ePRUwGq2UigIXCAUQkgmYZ6LlRUrPjiIiDMk9FjYWTKvwleUJqG2AeWX7kGc9m0GDsZPDVjoz6YhlRwYWvvJy8CIgAQF1cBCw+a0B2jkWGQlzij8RYjkE9fdckkafyTp08RRv6+++/36rBU4Dg6aSsPyR2lKw/npBAecdLJNiEmZNLkR2uR1yEti1bt2HC+CHCnyBqG4sxa7/jsL26Blu3bu1wh0tByqrDBP205Y9lKZwJNpLZ0o3kiEAhPJc6q/VY6gp5G5TCTIoQG0pGUFpahmQkgA0iJPIGFdZeptWKg2VhxWXF3la8tDXps9DRvHmBeWWHmCvS1g4R1LsDjIN8ZTJ38rZtSFeF8vJybNq0pcN+MgdpD1J324qSaRs4cCA2bNiYFt/ThcWX1ryRMQArV67EqlWrWk0CnGDaae8WUOjfR0uQT2kLKO2AtchZk3wBpQvQobXDKyg77YPSEDhU8h4UQl+riKUwTvUE/bAD44DEgd6yYowCaxrZZTCMEDtHESwYPhskZ6hMQ1AGxYDYxfm5mhgwTUwL08jjf2gnBlZA3YjUoMj0hSM6mHPVxOpgRCgRvXFH0C33QPAzOvWXITAkJ7fdegPySXklaQhJZ67lJmmjasqOevLZpJmCVnZertYHfnpozA06tYIixla6LGHG3Jti1ZW4pCEqaQlgzux9sXHzZqxdv6ZLKyg74+kKdnKPT/yEcuz4ccjNycVHH36ILClnp5veAHlHKisbgMGDB2H58mVSZixDqx2YsuxJcFUzNzcPe+01E2+//bbWqd7kkRPkCQW5/fbbDy+88KK2T2c/1pNgzWEflg7YF7oFlF2toGh7E2Qq384WwH6X/UNXYKWqYzXFxOlWvcD8kkdpCyjtRmJZGWtfQOkCWgkoLZJqFaR7UOEzhYO9Zs5ESUkJqqqrMXXqVDTZUj4bxI4dOzB9+nS8++67mDljhlYGvqaRPOmg9uo//pFW5WAHN2L4COw5fZo2vvqGBqsyyIBVU1ODktISPUJ565YtKCgswECZuQ0fORIrVqzQtPxD4udA210gj4YNHYaZ0iFvk5l+WNI1YEA5QjJT+/STT5AjlTU/P18GtY8wbtxY1Y8fNw4LFy9GSXEJ/v7c33u0k2R6WR4sR85yK7Zvx7ixY1XYYxmOGTMGCz/6CAceeBD++re/Yu6RRwrfo7qStmHjRpkVb8KSJUtaze46s4Lizi076pbVkS6Swrc8vcmWQh/TzHKksBeRuKV9aEdQX9+AwqJCtWf9ZZ2kG8bflc6SPpiXkaNGYaPkl/UpKuGxjKqra5BfkK95r6mqQnFxscbLdPD8B6avoqJCw3E1r4yAfGWchYWFmtccEQjZzgqLihC1BybmnauKgwcPRpbUf6ZLOixdxfMqD4vTO8uks+lmG8u1y511iEIv00BeSIdqDZjCO4ZfJGmvk/SSX5WVlTLbJ1+7h1eMr1jaV0NDvQrOTCfLlf0V+Uchm+XIsi0W/vGZaWXapc9VXqWbLgrxBdL2GSbrD9PBvpNlxzTQjOkgP5g+8m9HxQ4USX3eJu2yvX6Bdkwz/Rmw7re1gqLlI5ORKVOmSD4blQ+64sYoxI6TuSJJU3NzDHX1dVqvR0o/unrVKvXLgmK/Tg9MFvNGc5ZzRNwyj5P2mITVq1epm1ic43LfAPnE/HQXyEJnSbE8fQGlk2gloFjGKbCyGQHFbW+ZWaskManAVE0FJSRxWslNQ6Q5GzgrBvXpgo2AM1h9lgHLzKaZBtoxDpMeqoybxExwcGOLSj8VbYNpYIM0cVO1OCj8kT/qmUa6Y9o1bbSV9Do7mHTRqtyEvPLNeNmZOaG844pOwuIh08pGTXdMs3FPO8N/J2jW0RWUjmLYsGHa4XKgKysrU4G0SjpWdrTkJy8x41J9qQipdDdq9BjUyYC0WgTDeun4u1L3TJlQeOPgz9cBzFtNdRXqauokLbmaz+0ygBQUFIrQUqXCAM0qK6v0dRRXgtLLuTeYtjwR2gaUDdD8sn3RjIIh+c2BleVGcDDJE/PCwiJpl1GsFz55DbmmjhibznBM487NwZDBQ+w6D42TwtLGjRswcNAQVNdUpwawQplA5EvnzVWoxSKg10l6xWOn4uwItK+SOjJOJgLSv6Jc6s5gEdKqqqqxZs0a5ImQOXT4MBlENmq9zpWyy87K1nrESdiatWtTQmlXwTSw7xkyZIgK0ywv1qWt27Zq/Ro2ZBhqJS4KUJzAbNmyWSYHY1UA/eTTT7Bu/QYVWNoDw3H2H8yLCoQCd9pZViyjU08+RSZLH0h9zcGECRMkbXValyORLJQPLMdHCxdh5aqV2kcdcfjheOuNN1RoGS78OuCAA6T+5+tKHesV21+VCOqcwFCoamxsknZaiuf+/ndUSt68pyfe6Ez9c9ZZp+oF057TFlDajcSyMta+gNIFdGUFxYePjoKDeEdXUDoEqYbs5N3QjkA6X7Vx1FU1oz6NQcULFG2ZDobvjM9KiZVGS/zdaed01S1gBBKlybNT/N6Znpbw4mVGYKfFlLsKKoZPyjPL3kAfac+0q0nmYcrM8MZKl6USVpIsN1quaminxugzBE2DHabzWWHrjblJnz7rU9ugGwqobgGFglB7oKC/fds2FahlnEn1+QyPAi4nmzXVNWiONeuqeY0IGrRnXGYFjBMGCpxcKd60aaMIJ8XKX7b5anFPQWzT5s12jL0Ppj1tAaUdsESdtaa/CCgtX9L3NRiuelDSw6w/Um/mw8Tdk2no7XLTQdDjuUskrYfHYLtJVydSbix9yozPVDNI1mV6Vn4Yx06i3rbT5512Tv/dQvYCneGxSUvL9LSklF8XmfR2Oe12Wlg2qaPJTbk47A1xYzivLnDG67TPBJn8WvVF1JCjfgilzKnKn9POGU4myMThflYSvYnbmYaO8ERKtU3ztuxIFTsqhB9BREUA4SV/m7duwZZtW1Wtrq3BjsodiCVimtaq6ipddWN6eAT99ortaIw2oULc1NTV4pM1n6BB9Fu2bcGmLZuxo6oS8WRCn73izhQZ/rhVL2qPF50iwstcSGJQ6m9g0+y7MFz1oAA3LO4G1Jv5MHH3ZBp6t9yk43e0Vv142dOdT32JnPW0J+qPO47erbMW9YU0dI4co6KLrFbYtn2mibKgl3l3konTrXpRxnhBeJkLSQxK/Q1Sk/owDFdtosRspG//5/86/0tY+4Ts+uS08X/+z/9l9mfamGlvRs82aNz4P+vn5FGXifAyF7LllH4HJt+JVvq+tAfFhw8fPnz48NE5GFnFoL/sQenbAoplbEEMKGmaLwB8tEQ4FE4xjDzipjEfLSENScnaJGnziQ8+dkLYwc3EuhdBIJ2Nqj5ag22O9Yd1iu2NvPLbnY/OwvRJXl8edgqseu4R3EDsaGWsfQGlC2hvBUUHEvnri1/xaFqtx14BKzd3vEtFUb2Uj1J/QE/yLuNf8eyGYF2StmwJcQLWo0wPvL3dXoh00+D+6oKvLaJN0dRRAz58dBhSGdk3sT6ZPjzTYKjOkPuLgNK396A4oBuJ+ijSSVmL0ugl9GQa3HH13VL10V3obJmbOkM1U3W12+qdSWSGSeVDn3ZP8tEm+s0mWa6g6CqK0Tvs3ESFGWuLFMatkJcbQwrbrZuotOfWaUcjLzsu6jndkdQt4XDfHWTy7pWG7qJMx6Vw5as9alGHHM9uouIVH4l2ig64JSlst26i0lG3uyIqJhw+O+06Su52Zsyc+hYk6Ez6nW47SqbOUDXPDM4ddltExRke9e31H247L7eGJ0aVWWTquSNExZmmXVFX2w3jccb7WSRn+bVX7rsi+u2of+POrXpRZ+pNu0R4mQtJDEr9DazDfReGq1p+1i+ld9iRuBQ9YfwEzJwxU59nzNhTT2nUjsO1PE09T1DcZ+99cPK8eTjiiCP0NEXuSeCS/9ixYzFt2jT1W1JSjKPmHqVh5uflY9rUaRLPeAwZPFjD53HQsVhMj2ceMWJEKo1cIh8+fDhGjx6tBxPxJE+eZslTZkk8rp1+PSHp4xJyTnZOKn+ZovIB5Tj0kEN0OZpp2Gefve2Dk+igJZj/gw8+CKeeegomT56sd5cwr3w1Qv6QeCT1HnvsgfHCE6aZmDVrFvbffz99nTJzpuWHYU2bNlX5QT1Ble54kBPLhCdU0p7lQP6xTAYNGtTmaxieaVFUVIQE72By5bMtalGHHM+GWDZFhUU45OCDkZ2VpQc+fe5zR7XY+yS+LIh71otx48fh5JNPFv7shcMOO1SXa5nmgoICHHPM0WhsaMCggYO0bmZFstAcbQYvkTz6c0fjjDPOUL/0Qx4MKCvDgQccoG6YPqo8npvu+cw6yGsVeAopT9Tliad7TNyD7xgkPcyEBU2jnSfmR/co2fr2iHG6+eLFJ+Z7osTLqyN4QjGvkhgzZjQOO/RQbVtMG91RZb0/5+xzcNopp2r5Nu/ioK72QB5xeZpl406Tm3ii9NgxY/XwLp66etxxx6pfhtHuZ5+70KuZzROjMp9efKJ5Xm4ejj/uOOUNP21X3tgw+WEb8Oqr2oPVP5VI+5uo/kgM52CpuwceeIC2U0lRi/R8FslZfu2V+66Ifjvq37hzq17kVW+6RISXuRDrgdaFfgYK5k648xCQQShQV1ene09kQAlIRx2Qzjcgg6vuRZFBKSjmQelgZUzRF9fXWl47D2ViMIRwlnUcubQ/25A8tn5moEiKmdM+Lh3Q+LFjcMLxx2OMdIIc2NhAKUR8+ctnywAQxFFHHaWDxoTxY7Fp4yYcfNCBuneDl3ONHj1KBtMZOOuss1BTU40sScPZZ38Ja9esEaFkMj74zwcyUEyUASFbogvgS2ediRXLl2PVqtWYNGkPGej3weck/P+8/z4uvuhCzJAOe9u2bSr8sMP46KOFmDhhPAry89BQXyeD+F56edqkSZNUANi8eQsuuOB83WNz7LHH4AAO3DLgr1+3ztoPEJRY7c+sTZ4N0ZzCATss6jk46qDucGPcjRw2DHNmzxaahX0lzRxoKChceumlmC1mvHfjpJNOwtatW/QujHPOORsVFTuwZctWHC+8ZT4nTpyAfffdRwdVnvTIDrKxsQHr16+XwXwuFi1apLy/+eab8PTTT8tzFIcccjAOlQ46KyusaTv33C+rgEYBJkd4epCUBe+V2XPP6VgufJ0gvOLR1Qz/wAMPFAFonJTfkXokN8vpsssuw5KPl+DIIw7H4kULZQDm1QZSndnJe/CIRD7y/iHVC5hvha1XaT2ZwPBhQ1WYolDGfI4aNQqrV3+CeSLMfvGLZ9IRpk6ZivHjxuqdQEwD07ps2XIp6wN1cKBwdcIJJ+jgQwGBZV8odW/Z0mU4SOwptCz86EPJ9wF49tk/Kt95nPill34NlcL3PSZOFJogg9ohIpTkSnyTtf7tqKjQslu3dq0KZqefdqrUzf/g6quulLKMqsCTlRXBgAED8LWvflXqWr0I4ntjy+ZNesJmRPJPXsU5SDp44ySWq9Y5eWZZxRPS5hz2VOIy+E+ZPEkFsKGS1/LyAdo2D5KyGijP5QPKcOopp+CNf72B2poa5Svvy2JZn3HG6SrEsiyZXx5jfvzxx2FvmTDQ7OKLL5JyH6xt5+ijj9K6zVNAKQCeeOLn9b4o3tHCdrZo4SJcc/WVIoiMQUjcnHbqaZglgnRRYb7EWyuCYTmOOPwwreeHiGDOY88vueRizJ41E8uXLVMB26oTO+uNu29x60mmzdGPaXct6hNJ8jygtBTnSV3/xc9/gWqJe9995ogAup/eKcP2xLucmC+W/yWXXCJ1aBmuvfYa7aeYz6OP/hwDkvr+dZ0IjBo1Euef/xWta9u3b9N6x4sFjzzyCD2K/qKLLsKnn36i1yCMkT5tbyn7UCSMtevW7qz7nzFylp9XWXaU6JdqR/ybeNyqp1v5cbLF8jF1qUtEeJmTbJhHCrK1NVX/lPg4+zPEwTVFYhcXoVdVQ9Tbdgnq5ZlqQsyVJFzpMhJJUiwWS4o+KW06yT6FxHi514Z9Ha+S2BUcSVe00vebo+7FjDNwXr4Wk1kwhQ42egoqBO8fmSGzPV4utfjjxdqxFcvsgx0iBwDe0VBSUqoXrfGYZWGurgDwkjN27Otk8B0ls1h2sq+//pr645HM7PAGDR6sgyvvFpkoA0sVTyuUAYB6dkDZMstlulg4y1es0PtT5s07SW+cZUfLgXqLpG+YDMYNkj92TuzMwtKxcHBrkLTxciwyRU9OpPDhAAeTjm6S5YDJu0Z4IRhncrm8/Vc62zLpSNet26CCATvy3/zmN3rpHleBeAEfL31jungTLS/l44Vh9Q31ynNexLZVeMaBiHoOPryAkQPXOhGwGCepQgZezvgGDRyIT0Xwo8qOvr6uXgakYeJ2ra7Y/P73z2Cw+KVgwGOsOYCxyFkeFB7HiiBaU1uHjRs2qLC0ffsOmSFHRQAo1NMjKRiyMbhBs/Y2yZrlRPKSxPtZeFEhebBt23aME8GWFz7yTpBjjjkGS5YuxUsvvqgrZ3VSH1gnOGBs2bxVBJwpWLt2nXY6dZJWrlZJO9IL1vLz8rCn1MWkDPwc1OOSBl7UyHrAetgUbdKBiHzhPSiDB/O+mFoMKCtVIZAC78svv6xtYZIIUaxb5G1VZaXePVIr8bEc8qQT+OSTT6QchiIWb9Z0sGMgH3iXi9VjtgTrEjsQFVAERoB1tjn6or5UypK3w8bF3txlUyr1qEnSZdKwWQQjui2QvFHgZl3j4Mk7ZygAl4kgxfJi/aOw8+933pFJwVrlC1cyKyt36AWITdFmqSNDNK88opzteLPUz2EiTDIurpBsFvMBIhjxTptVIlCyPs6VSQMFXvKc6Vi1apVeskhBiZMUHpvONs42yT7C5HtXoHBCPhmwHnEl0lmfAhIfucbLTClc8IJE5nnIkMGS9i3SN5VLPa6V+luhq09rPl0jQvEkLFmyVPqhAr0viBd3Sv8qQiUv+ByAWunTyAPyjPxmGXNVjRMwtkEKxsw33Q0fNlz4GMM6aSfMu+kffPQ9sE2yPnVXGTFUZ8jsj/2veDqJVgKKZaxgAyNxUNFnMXMnti0ExTH9cIYZCMhMWwZ+dkQ06yzoRwrE1lnoSFqsNFsXhBHsyDraGe4KDKcrX/GYdKdU5ZF1ARmFqa6CeWMYbj4Rbl459aY8jD/lmVCm+MROgHwiGG5XvgijexUqhMijrqTNHacXn7zg9Ec/1FNlWpg3o08H9M+OkuERHa1LnYGzzA3YNvhKhvG6eWrcm9x3JofKM/Ggy+gOeKXBwG3n5dbUJcNzqt35hWF76fXRPpy8S4ePpmQ74t/E41a9wDpjBN602m+7kVhWxrq/CCiZ6fm7C0yqTexgtJMxeofdroiKlLzM8rIRlkGF4eh7YIebjpIzDSkzl96L6E9Eo5ReBRWHfW+Q+/0o08g9EtxD4HTXWdKbfOXnZefmlVNPP05/fM40n9zhO+06QvTD/Ry8WbaraWMYzp+XGy9y+zFqiK+2HPp0yBm+08ypT5e82ksgKe1T6p0XT5311Mtve6S5kbBbmbv0TnLbebk1PDEq+5NM88lJnc23TzvJybt0+Ei/HfVv3LlVL8pYvSG8zIUkBqX+BukN+jAMV7X8rF9K77DbFWn/5CAvN71FvZkeE3dPpqG3+d+iDjmefbLI3c6MmVPf0+Sspz1Rf9xxeMVpeGLUtvaHZYp6It+7K/UG70ycbtWLMlZvCC9zIYlBqb+hbwsohqtaftYvpXfY9WfqzXx0RLrPNPV2ubWoQ45nnyxytzNj5tT3NDnraU/UH3ccXnEanhjVX0Hpu9QbvDNxulUvyli9IbzMhSQGpf6Gz8QKSl+m3sxHR6T7TFNvl1uLOuR49skidzszZk59T5OznvZE/XHH4RWn4YlR21tBcZp3lZdtpcH8jJ7pIFFvLuVz+kmXMhmelXIrze2Fa9yZn5cbN9Gd8oFPHnbm5zTvCNHPrtJLMnFSNXG15act804T4WUuJDEo9Te4P3Vgdpzo3c+MHRxVKVMgcSmn3Qntr8hEPgIBa1+E4RE/P9WzQXYBE3d38JIVgeG6w+5IXE6/bkqnkXF/g3N/DTeXdtemxragnVFQyoaVW8iaPTFnnQd9tcXnroI80rpkb9ZjPUrt18oAnFl1tm8vJPkFpJLwSfxxL0mm8tke3HF4xcl9P9woa1JEHimvHPWJz9zTxc+IeVYMNxvrHq9IBGHxX1xYhJDwm59BV2zbjry8fN0sSV7zqyZ+bZcjfSFjKMjL07Nf8nPz9Ks5PUtG4jzt1FPVzZaNm/RspvFjx6k9d4FNmzoVxUVFiEm8eRIWKSxddFlJiZqVlZbZX7K1XxCss8cecww2rFuP3OwcZEkb4heK/Gw+R9I0qHwgJk3cA7GoFU9E6g/dMH/MZ0lxMaKNTSgtLkG27nELaZrra+tw6MGH6Fdg/ByeX4Uxn4yDfGFai4uKlcf8MpAbO3f1pRW/nBozajQmjBuvn9bTP/lE3jE9WcL7gw88SL904jP5w0/myW/yjcQ0M/0F+fnqpkDKhekvKijUz+jXfPKp5pNlQTdS0JpHxsPzk8hbhlkicTc3RfXrvEGDBusRDfxSi/XEWZP5zHbnrE+ZBkN1hsw62B8+M267pPsCDFeFLPlTGpLRO+wyRQyfHUkkSwYxl50wHM2xZpWe8wsLEMnOUj3N3W69iGHz016R5PRTZhYSP411nzHRk2R42FlecmbGvJNXzjIxRDPtjIWPrIhh6ZCYV/KqvbgYLsMkTxIu4ueSJGkD6tYr3o6Q019Xw+gKMS7ygINsUU4RCrMKkWxMSkfW9fInP51Clv73cNcZYjrdfEmXT/Rv2kqBDD4l0uFnSdcT46fuTLvLPcufvMoOZaMkpxh5oTzEm+y8diItrEsBGcw6e/6Hu4561VmTDqN6zappJuOOqvzCh22BnwHPnjMHg4cM1jN+eP4Sj0PgoYfkDw/9GzhooNoNHDhQzXjGCc8s4if6PAaAwfP8loMPOgjLli3Vz6+nUBgpFmFEBvtB4p/HK/ATfX72zs+uea4Pj0AIifDAs4f4OfikyZP0E3q2O2e6W5GAn7+Tj2zTPJOI/nj+Ez/35iGUPApg6tQpIjwENB7GQbM5c2arADJ37lw9r4X5LysboIMV88a2TS7yQER+rs/w+Mk3D5DcZ9999CyY/fbfD6Vlpfr5vWf6bCL/Wd4Ml59oy8Cp4fFwQB6kyXOnZs+eLXlpEA9JPaIgJvWS5ywxXUwT4+ORABSI+Dx9+jRND8OkvXVGlgg7wmv653EWPN+JcTEeCph0f8ABB+jZTnvO2FPd85iIavHLT9EVrnQ79V0mwstcSGJQ6m9g8p1ope8356B0BZJbNh5K/jxzgx3Beed+Ca+8+ioeeviHev5ISKJixTzhhONxzjlfwoYN6/Hpp59qJ7DHHpPxt789h18+/Us9dyDAjtCRNEp/Jq1z5x6B8y84Vw/h4lkMPHNlzz1n4sUXXsDjP/4xmpopwHYNnFF05TPjziKYDGrHuPc+s3HPPd/B8qXLcfuCO7Fp6zZEJA2Mnfk988wzhE7HkiUfy4xnm3ZYPJ/ixz9+As8/9zwZytA0TIJPPCvi2OOOxYmfP05Y2LJ8OcNjw5+x53T8/g9/wkPffVhnfia/HQXLsb1zULoLPO9kr72m4rKvXy7Cby4+XrxI88POcumSJfje9x7G1m0VSMjMjTPAFpXIAeZWSfJNYW3B/Nv0lNvrbvovvPTyqzrzSxesS+xQzSyV9YiDXlfbHGfaPA/n8su/rjNknnXDAXGszPQ5YDz5xE/w9+dekHYo4UuDj0TCerLu3LlHYuPGdXoGCs/dmTJ5Mt566y089tiTqNheiWA42KqeEFrvJZw9ZbDk4W9cYbjltjskjuel/K2TjjMBlh/5ZMA86WWBHvWJ6eQJxcpTKUAKWvrMLFOwkfptDaxxsZbZdEjsaCZ+WdY6kDMgeVYzCj5aB+K6ksPw2UZk2qrm6kfSQ9csNxUGRM8i5BkqfGb8OuiyzonZrkCh0aSTznkeEmsIw7Pik/hpwUgYHONiHHZcusLE9Mkz/dANj3xg/8v0m3wYfzpxo1bCM+mjOfNO8/ag/OAKsjjVXolpEvC8IQlE/qwwGLbmgemz4zEq3ZLnjFq/krODUYFKVONW88Ef9fzZ/rUeiDV5z7zQzLjzygPdsT7RvjvAUJ0h95fPjN3caKXfnQWURhlsDzrgQJx80kn48KMP8Yc//AEPf/cBPdzqoR/8SAWUbKk4Rx99NL72ta8KfR2ffrJWhAGunsRUfeSRH+hS1WOPPSZCSoM2QAM+cRA8+eR5uOiiC3HrrbdpJ8uDlaTLUmn68ccfQ0NDI66+7sZWzO8o2MB6QkBJyCAyd+7hmDfv8/qqhDOFe+57EJu3bhe9dCoy633ooQe1Fl11xTUyiFjnzXD5duZe03DHHbcLj5/FT3/+C2mMOXaoFp8Ilis7Mmc15ECcX5CDu+66S/i8CD/96dOICu9NXjuD3hBQuBKwz6zZuGP+t/H4E0/gf//n9ygqLBabpMzGanHbrf+FOXvPxnnnX4iGaMzmhXf9ZpaT0vGyrH/wg4fxwfvv4KR583Db/Dvx6j9el/yxO+48X5xgeWVSQNHUCI95kBqXd/W0XwmqUer8/gfuizvvnI+bbvoW3nv3AxmY2YFbcbJ8wyEe/x7UJfPcvBw8+NB9WLV6NR754eOolRmpdvQ2mD4eusbj5A899GAR/J/Dlk2b8a1vfxu/+OUvdSLR4wIKy0vySgHtuOOPVWH95ZdexuYtm9Wch8Xp1RciaHAFgTw/9DBrNv7G66/LhGmuHtS3fv0GrJZJ0Y7KSmln1knMjJ+rUsw3P3lnX8L0UFDgeU98ZXDkkUdqGngQ3KfSp7HvVOGnk0VJ51xJ4MGIa9au0/h5evTUKVPw/N+fk/phrQKyT2Q+GM+YsWN0Vehvf/ubpCem6WZ5sS6xjk4U/zxIjuW9ceMmfLrmUz1IkIdTMkLWFx5MOGfvvbFi+Qp88ukn2m8qWOxt5IH8YBomTJwggmwFli1ZSlNN7/gJE/QASabXmuDIQJ2do+2Jqz9cNeHhlO/wsMC1IkhLRBzIdfXPbnemXWQavoCSQouSdU+53NzpN0fdd4XYyLki8uILL8psfwnq6upxyskn6WmPb779b6vhxQNSMXNw9DFz1c1HSxdL+sKob6zHHhPH4fOfPwHPyQxwycfLJUwJlByww6fC9HI5lUemc+Vk0SLxL41Qyk/My3Duuefg5ZdfwocLF1r+bb+dITZ85kUqiuqlfKyO0uHGiwwP2+KlyQpnZnxn/LVLL8F+++2D6667SU86HVhehn/883U9RTUuHcMB+87GOV/6Iq678WbUSMfK5e2kSJnhSFAaw0Zdit5X/H/AE3Sls+XrLsbNSCyVke6kuHT6JSWFuHPBHVgsvH/ypz9T4USrmbrvHNFfarlfEJOwFC53mSS+ksrJjkjnN0cHsDffekNanXTUSZn9ZoXwlfPOw+pVq/Hq6//UQY5+vMqC1CQC8wH774/7778H9z/wIN7411uQCQReefU1PZnXzGa9/HaG2FkaHrMe6WzW5aZTJGVJ4UHLVQz4v76hQY+x5wmqPDm4tsYSOFgPWC8CMpDymfWnoakBY8eN02PuX3rxJSxetEjtnXEw3xycVq5ciZdfeQWrP/kUJTyd9nNHiSD3PpavXGUNzrZ7ht0Wn912Xm5Nm2OfpDyXbpWvlBS2m6S0/YEDBuAbl1+Gnzz5FAryc3DjDdfKQJuDr0i7n7zHJMw76Qt6JcBq6RuqKqvwxTNOFz/lekfV8OFD9TUCZ/xHHnEERgwbJoP6MJx26sl6ncdRc4/UfSZ81XP2WV/U6xH22XsOJo4fj+OPOxZjx4xETVUNTjrxBNTX1em1HdwbIQ1a73Viu2ZZO/PlJOabakDcn/KFL6C0uBjnnXe2DOpZEt+ZGs4BB+yLL3zhRG3bX734Yt2zcYbUycL8AowfN1r6g7NQuWM75svkhNdDHCuTvf3321fCKhTBKoy9Zs7Q6xwoxDEv3OuxYP7tqNpRiRuuv05P9T7+uOM1T++K4MDD/NgvsE6yPN31PRlLoLAgD7P32kt4e6KudB933HH6SmrI4EHSv39BT+W9+aYbJM7BGDlylF5XwldRGzasU6GR13vwlHDeWcbrJq765pXSf++tr+h5krMzvrbI1Bm36ulWfv5R995wJF3RSr87rKCwArSAaIWp+sj/JtNcyfjZU4+rIGFWUMLJkAgZzSgtK9E7Pzg748oBJdBPpBO86+57RHBZLjOEbCkplvFOSHeokIJCsQy0V115BY448gg9Ep1L2eyUb7rp2+o/IINWV8HBpKsrKMpLenOwyITD9NOe73HvumsBnvnDH/Gr//kVXeDqq67A2LGjsOCue3QFJSad8QXnno0vnXk6TjnzbBmMd8bP0OrrqnH++efLIHMi5s//jghki1rMQN3gwMjNZTfffD22y4zzYSmPJul8uHmuq2AD6Y4VFK1f5J8pQvvZrGYkpf5wY+BXzv8KviQdtnk/znJbwNWPV1/X14MJ+nGUgwHTyiXnW771X7op74EHHtCj9wcPHIT//u9f4Jb5C/CP117rk694CIbBGezll12G8gElesEjNzs++eRP8LZMBCxOyWAvmefAw2PezzrzDBx28EHgZYhclfzTn/6M3z/zjB4Nz3JkatpLEWe9vP/o7u/Mx1NPPYW//O0FS0jKECicOOsv6xFXMVrUJ+EZhUa64/6RaLRJ2n6t+tV9WdG4tlvmv6amRnnMjpv1srAgH9U1VboaQH1Y+hf2OQyDgzQHS/KRwguP+mccjJuvIPJFOOC+FtpxkkV+sb7RjNdV0B3jpVpZVdUuH1m3B8hE6qYbrsdDDz6IpmbrJG+miXWEEzDGHRWBh/eXca8K88DVvEaZxNEt92nU11ubcemmtrZaX/nOnr2XriC98eabaKhvVIGSqy0E+0eGxTQy/QSf2X6b7L6N/SjNnOCr4kKJn3miPfsQgs/kRyQS0vrMNDc0kK9hnZgyzYWF+XqtQG1tjfC9QCemLBde8yGepTxqWsWXKTCPTJPpezMNhuoMub+soLi50UrfH4+6ZydPOy51Hn74Ybj+es5aclN+mqIxPPvsn/DQQ9/VimlBZmpSOX/21BMtBJTsUFhmDV/WiwCvuuZarKUETdeShpKiUtx99wJU7NiG++99CJXV1dYsTR1IXDriJHD22WfihBM+L27vxXvvvSeV0VrtYAO/597vSEdTiEu+drl4smaBtOsMGE5nBRTy8RAZAO7+zh3KFwOG8MCD39MlcQkWN9xwnd5B9M1vflM6kWaNi2FfddU3MGbcKNx55z3YumWb5Dcg+TwD53z5bJx22pdQJ7w0S/As14a6Wr0Ejhc2zl9wJz5eukylaa9yTEhYQZklff3Si3Wvwu0LvqN3t5iOqqugf2tAsMov3deF7Jx5r8ytt3wLM6ZNacHHNWvW48tfPlf4FcJhhx2Ma665Go888ij+9Of/Q8QelCh0XHnF5Zh7xOG44IJLUFlZrYO0kyHNUgd5AeMll1yIH//4Sbz00qsaJof00rJi/OpXv8Ttt9+B10RACYV4PYHlmWkRNnYarEPsKA2vO1KXOgoO1ka8JN950SFXEG+7fQHeevd9mkrqLS4yf6w+9MNBa9r0aTLrvRFvvfW2CjYcVLgS1RaY5hYCyt9bCiiMpS3fbjsvt6YumfaaifrUHtpLb3eDeTL57Gzf1B4MqzIYpCecvEuHj6ZkO+LfxONWvUDeGoE3Lf62G4llZax9AaULaCWgtEiqVZAd6QRMQdCdME9UM5e1s6efLsqzKxz3Ckq96AcPKMevf/0/eOKJn+BnP/+FXopmEG0UAUgGn1tu/Rauufp6fLT4Yxk87DgEsaaYzBwnyIB8G15++RV873vfT0n0GrMMwsOHD8FPf/oT3PfAw/jLX/7apUG4KwKK8kZUHTBsf4avnLHS/22SL34iycZjwrbA97y5klaZfcjMJNYcxxVXXCkNLIRHHv0Brr3mRnzw4aIUu7mUHIkEceMNNyh/7rvvIb1okK/zvMDZ2Nwjj8BXZVB+SISlN2RQyspue7WloyBvM7mCYtUti2fcQGyQhH3+hNhx5nzzzTfozPfaa6+TjiFPBAcr3/QaCQfwzO9/iz//+a944sdPIc4VVJtvvPH4iMMPx+WXXyozX0uQdpYDn/n6kHtZuNnw5Vf+gfnzF+gsmehKzliX2FFSJVgPpMNJ5TNd7OQSV9VqRWj/DoaPGIUrrrpW2p8IHY54mFOTW7b7o46aqzf93nDDjfho4SK9tqIt9IkVFB8+Ogj2TWkLKO3A2ZaI/iKgOPuLvgfDVSF2+NrpG73Dzk204+JFUgZDS5UhQylhEe0lLFVt4geMcTFNBILyP6gDTigRRHV1JZ599lmcccapmDxpom7Y43Ih9xOMHDUMF150PpYuXYb1G9aKQBXXcwEmjBun39cHssJYs34dXn3lVRx77DF6sypvZeWg3tTUoK+Nrr3uOmzctEVmxi/p6oszj91J+r6f/BGKi97ik20maeAV7QsW3IVTTz0DJ598KubNs+ikk07B8cefiD/+8f90NejcL5+PL5x4Ctau34CPl67E//7qGSy44w6MHztaBLSoDrK8Bv+C8y/E6NFj8fTTv9JlU4qMA0pLhFdjdTnXpItLviOGDZfZ9Tx8+NFHeO2f/0Iku/Vn312lFnUoTV47/afqlpDKKjYvK6ur8MKLL6qgx9c73ANcX9ckfIkiLzcfV115jXRKIRFO/0/4HpNBNIiRI4brjbfZOdl46+03cc4550oZnC50BuadtJPOO+8CqYsNWk7HHT8P9z/4EPIKC1J12pnWjhLz5OZLOnwKSYc7eOBAlJeV6Sbq+vo6EUTqRA5JSHs4HLNm7YVf/+Y3aGi0hBMKvvz0lrE2CI/q6qPSZuIYNWoMzjrrTN3AuGH9JhWOGT6/8Bk9ZrS1WueItxWcdkK76j/a06uZzROjanuyn7uD2kuvT+2Tk3fp8JF+O+rfuHOrXpSxekN4mQtJDEr9DUy+E630u/NXPC0gQfKV0EUXXoAtW7fixRdeEj0FS+s6/KHDhuL0UymkTFJpl2Zr163Dn/74Ryxa/LEMMkx/AJOnTJbB+HwZWP+J3/7uGd00FpPZ8wgZdObNm6fnEZhP+9atX4+/Pvd3vPnWW8gKW68euoKurKB0BO7KQJD3fLVBgYvvkf/857/oDF43LQoPk4mYbuQ784tnYPy48eq+Wuyf+/tzuk+CeqaTs81zz/2ybk77wQ8f0S+naB6T2frY0WNkMP4Cnnv+eRFSFlsCTAaQ6RWUjiIei6K4uBgnnHCCbpbOFcGDea2oqMDLL7+K56Wu6Rqf/PHAqGuuvhrrRbB9/PEndE+GOLZDYr3fWfd5ns6lX/0a/vDsn7Bs2XKr/L0KrRPI5AoK/XBPwCRpM6edegoGDxlEU80P3+e//eab+Mv//RWNIsjyiy9KbzxYi4II21lWtvXFCuNfvmI5nnnmWaxdux5h6SOYT3bsfG04cuRwPPLI47qB0aSbe6K4KZIbSl9/7XV8uHBxyi4T8FdQfGQS/gpKCi06Gjc3Wun74x6UdMCwCWG6qk7Qjh0QiZ0dqYU7eTTf+7eyEzj9046VUh7Szgfj6oqAYnjYFV6aPNCjVw6YVwoyVJlPplHNhYxrhmHsnaAZfwzXzcN0wHgyuQels2BMfN1FvjBfWkdk5u3kH9PDT0VpYnjWHkxdyxSYLnaUpkw6Wpd2BeZL64M8m7y1le6UW7ts+MqRX16YknLWiLbqkEEqjE7UI5NGA7eeMHWJ4TNsqrvrHpT+jt7gnYnTrXqBdcYIvGn1d+1GYlkZ6/4ioGSuZ+sOMKk2Wd24sNfoHXaZJHc8bjuufvAMEF0FcbuTyZNx4xWG0785mr678tERMnF3JQ08Z8FKf9u8Yh7dV+g749LjnYUfRm+IfmX4UtVtly45w+yO8Nsj5p15NuWvPHTxj2nil0pOnrVHHXXXUWL8br5kgk8MQ+uDkMm7lztSyq3wSXll1xHyz11XGY5XHTJk5aZz6XfH4darmR2mUfUQM/u5O8grDbsLMW9BB2U6r73BOxOnW/WijNUbwstcSGJQ6m/o2wKK4aqWn/VL6R12/Zl6Mx8m7p5MQ2+XW4s65Hj2ySJ3OzNmTn1Pk7Oe9kT9ccfhFafhiVF3tQeFZ9zwdZ0568YQ/Zif09xNbaWB+8WceufPHVdXiWG12uNjk4nLy25X5PQrs/CWqwcOd+lST9QZN5k43aoXdZV/rYjwMheSGJT6G9zrosyOE/5lgd2MTOSDDZszTsMjnnqoRz3vAibunuRlb5YbZ9uckZvW6nyN4MMCeaR1yR4sWI/0dN9eZJOznvZE/XHH4RUnV234mse0OX21S1456hNtcrOzsc+cvbF96zZdE+Q5Nrxkjs+jR43S5xNP+Dy2bdmqel6mx+sBeBDbgLIy3WzPjfncOM4L6ngAGq8M4GbjRCyOU08+RS+q27xxEyZOmKDEMHgx35RJk1A+YICWJ8PipX4Mixf78bK8KZMmo6qqCtxrZ/LhBE3YoXNF7+jPfQ4rV6zQS/QYH+Pm+SjlZQMwbsxY7Dl9uh4Cx7N5rAv28iQ/o9XvyBEjUFNVrXvLeBlfTlaOHvpWsX07Tj/tNAwsL9dXDmyPPFCNX6bxq7ThQ4ft5EE0KjwZI/GH9Syc1ApcB+BVft0NE6db9QJ5ryuBjvqUaTBUZ8g84sG/LDBdGK4KOaVt1Tvs+jP1Zj5M3D2Zht4utxZ1yPHsk0XudmbMnPqeJmc97Yn6447DK07DE6N6rqAIKLDwE3N+Jk4aJAP4XjNn6uV03JTPS+fWrVunF/Bt3LgRw4YNQ0lJsR5HwC+VKisrcfDBB+lZSXweOnSoHhTZ1NCEQw89BB9++IHuheFBeLzIj8fFDxChhAPAjh2VIqCU65dRHPS5iZd7+PjpOzdtyyCC0WPGSBrbWGmxQXd6AJwIHTwcjhcQ8iJDfm3FODno8ARfXrLHU7j5QcAEEZR48vaUKZOxbdtWHHTQQZou7mfKz7eOwydveK/ZRx99qF9zMd8Mg+EyfTERUjRPdXU49tjjlFc8noAnrnamTvZEnXGTidOtelHG2hfhZS4kMSj1NzD5TrTSf2a+4unH4MJVd3zFs7uBEnxvfMXTn8C6xBmOtRhq1SUOFH6bawmzqdGAr1PavSwwnhAhRjTSRnmiKj+/Bq87EEP6Jb/jMh/l3UNB6fh4WGEixDYcQVDMk4FmCYUL3mHxI+HxFtOY2CYjiIabxI0IEWJEv0FxE2MdlzBDEg4nyYyTSAYTCDeHkQxzd2MTspPZiAf5lRzTLf0v3Wvv2xKah1hcBTHO9plPHqLHTd9MO31wEGY9YR7Yd6u95I39kmlzJHUvpCyQdNFeN4aLXld+RdX6Z5Jhh2uFbcW/u4F9E+uT6cMzDYbqDLm/bJLt2694DFeF2ED44zIgwcbgtO8wEV5mhNu8B6jL+XAQOw12mFJRVC/lY3WUDjdeZOLORBo6Sj0Zl5tYPXv6Lp7+SOwstSnLM+tR2nfxpEnOekp9d9cfdx31qrOmzbFP0nYn3ar7Lh4l2gvxLKBAuBDhgXshnjNAuvhNMiiHES6eJIN1GM3BQhQOm466aBSR8ikI5g9HE/JQOGAqZGRAVt5ARIJF0v9tknAKECzbD5GSoahN1CFr4N4I5w5FNJ6NvGEzEc0egERTBSIylgSKxkp4MySOXKBAzAdMF6lGhIZIObIG7IewSBLNkQjCpdMRlMlfMFEl+bXbiE0UHmbOnKGXD/KV0bLly8U4oK9ruDLCFZoNGzZq38xVH7YrHnU/buxYvTCQk6fDDjsUlZVVei8O+cQ7drSfEgGmKcoj50OqVwFGhTTrhmGOVqyL5LFRnWnrCHmVX3eTidOterqVn38Xjzf6toCi/1vCCCiEsafKmYKI43rbK6cSTAjf82qYNvG9Js9lYIfB2UBCGkqEkqt0NGGe40FpXlqE04+TUmihYQVrZdQppOOXkAqyU0ARsKGTvKC75EU1xLTzwfLZM3DGlS7vOgNWT/LJQOqt/eTDgHUoJaAI2qtLXUVXytzpPhP1ZVdpcNu59c66pO1OAkwJKClIT0MBYfyxwsMI4jUbkCwZKcJECbBtJeK5RcgeNAO86Tc8/HBkF+yB2rpPEMkbg3hjDYL1IsTkj0MkpwxNEnZT4TBkN2wR4eQQ1ET42mgm6otGIBANIVcEmEThSImnBEkJLzdH4sgpR3DQXqhrrkUibzJKhs7Gjk3vIm/EicgqKcbGbZtQOmo26reuQqB4D5k+VyBcX8XMWamXPPGpqLAA99x1J+bfcQeqq6pw8YUXYc/pU/WyR756OvLIw0VwKcPXvnqxfqV1+de/jn+//Ta2b9+Om2++EePGjZO21oz9DpiD+voaTNpjD+y99xyccvIpGD1qJK675mq9SJD7Vu6/914sXbIER82di+OOPQZjx4zGv995p91TgzsCU37p9Df0S3TUv3HnVr3A+sR2Z/rwLqMd77Qy1v1FQHFnp5W+P7ziYaJ5GNrMvWZhrEjtfFfLd6Y8VpzvRMkYyQOOOeZo/OIXT+tJsGw03JD1/PPP63vPKVOmoLSsFG+/9bba8V3rRx99pMeGcyDj64C9Zs3Ccy++gJrqauvTxj4CVu6OvuLhxVfDhg5VftTW1ZLj6o88NaS3hMqP+c7jZWUyq+PGN947w/flPDKcS7sK8ctYrbmOPqTfyLoJrAcdecVDfrJuVEs5cxMhZ5C6XM2f5E+XreVHd+QRec+ZIMPiFfIbNmywQ7LqrJMfyieySowszvUtME/sQKgSrEfMI/PhBPPKusG9CLz4j/sE6MfUJYL+dGCxecABXQdxOyhTZ8gH9WPzhGHnyqych7bx+nuTlr4E5oV8MmCaucfDWZ/ikuws6YfigQJxEEcYjYiH84UX0n5EaIhL/55VMg1NiTVI1FUiEiwXdw3S/gYiJn6DyXUIBwYjzhWGgnwRIEKI165BdiKEaM4ABBMywWqsQKwwX8LLlVFlI0KBcRLPDsSb6mTWLhM2kaEiwaEyIatBjEJNYghqkhsQSeYgK1SIptgm7WdjwQFiVq1DU1LHHS0OJRZTTm42Bg0arH0n98CwL6iqrJYyjuugQwGEb16Ki7lXplrvNWOZFopww7JvaorqHhZucOXrBW4E5vk2nDSyjtCuQvpqDlw1NdU488wztQ/mfWlZ0r7sKrPbgn0T61N39Z2psrThesXDwUJJyiz1ikfaXVM8HjeqedVjXv/4r3i0rGzSwUF+ZgUlKWZOe+EOimRWUCWV+8MPPsR4ETJGjx6DtWvX6sYyDhrFxSVYtXo1GqM8UjwiDSMLmzZuQnFBMSoqdqBZzOukAfGKbg46PN30wAMP1IbCkz3j0rnSv86cHHG709IZSsevoc684hkuvDjkkIMxePBgNImwN2f2LBx80IEoKy3Ro9Wn77mnnnDa0NiA4kKZHR1+BFYuXyazqEIccvAh2pHsu8/eqvJ69JkzZkhFX48D9t9fd/Dz64PNMqikTkB1xe/Obyby31Fi9WzzFY+AlZcd5xDhzWwRRmfP2ks64R16qunMGXti6uQpaBahZvKkyRgodWTN2jUq8BwoeW+sb9Ar4o879ljwULH999sPI4YPQ2FBofK3WQYZfo0wefJUPZqdAg2FH5adM419gdhZalOWZ9Yj9yseKjy2nps958yerTfvDhJB5cgjDle7SXtM1IHnlJNPxsoVyyXv/AJjtM6cVy5fjimTJ6FU2urhhx2GUSNH6QrCntOnYZ85c/Qrl7EyYZg9azaGDBuKouIiSAdntXu7PmWivrRX7zpSR1u94pG/FvVJKBEIoSlShJyyIUCBUP5IBHMGISDCRaBgKEL5w4TZEamT5QjnjkAwtxTBPNrnI5gtQkfuMCRyCsVfKRIRGegjeQjmD0VS/AZzShAQ94lCCSN7oDyXiP+RohaIPxF0xE2gYBgCecNFXyRhDBQ/QxAT+1DeUCBvIOK5xRLfCITzB0ufmyXCI79EahRhnH2HlSfmndQs/Oe1DXUN9fIc036WNxs3x5ulP21EVASUqAiz1dJ/8pmjDP1xctMoxJN966W/4QncjdIWeCMx7aLCM+prZLJkuWlQ9T8ffIC33v63pCv9ay6c5ed87izRL9WO+DfxuFVPt/Lr7Vc8orpXSJTkOWbMHWZU+9cKiqiUT8KSyF7dJEs7vsaRBy1s6o1K8DmuNY0aOw6+EhI/6oazDlFTeoFRiaTWsr4FprWjKyglMkhSeubyK1eNuFueMz8OtAsXLcKYsWN1Rz7t+fpr8uTJ+Pjjj9WeqwqbN2/WLw3YOdMv3XLVihWOzxxMOMuSGm3H2HfABsJ8sDxJ7hUUCig051cOXB3YvGWLCLpjdebI+4OYR66q8Ip6Xg3/7rvvaoPj3UvkC91MnTYNy5ct03fvnGmOkoF5uQzKHIRpRgF3owhwtCPfTZn1FbAu7WoFhSmmIDdixAg156ra/vsfoFcffLRwoU4OeOEmv9rgCgiJX5FQ0KfQT57PFsGYAlpuXj7Wi/+9995b9WvWrMEMCr0bN+rAxvZO9zzGnuXXV8D6v6sVFKlN2qexZgWEeI4uf4T2dQ6eWrXP4jmRkH6I5A2WQHv1huGasNt3ax2OJvZJTnCkz9MJNccdHz0J1u1eWEG5Rx51BUXaO1dBdEVESDfIksRMN8ialRSa2faeKygkaQdcOek7R91LRx+UyPUVj2Rks+2302gloFjGCuegos9i5k5sbyGdtGQiH50RUJwwcfckL91x9WTc7ATIJ4J1yP8irDVYh9hRGmGgo3WpM+hsmRv3pqQyUV/aS4PbzsutqUusP+RZd9en9tLro304eZcOH03JdsS/iceteoF1xgi8pg/vEtqNxLIy1raAcrc8tnjFI5QSToxQQjMjqNCc7sTcCDMqoFCVfMSkr4hnUkDZKbJ3EcLYVIB8D51RMGSb+G5a39kbvcOutymdtPRmPkzcPZkGd1w9nf8Wdcjx7JNF7nZmzJz6dKmzZe6sp5mqL+2F47bzcmt4YlT9XNZ+7g7KVL4/i+TkXTp8pN+O+jfu3KoXZazeEF7mQhKDkhMiUOjrGTfRSoSTJJ+pinBCc4ZEAYrmKRJBRVXaESK4p54zAXeaW+mdKyg04CqKCCJBs4Ii0lBQ9LpJtqmpia96umcFhSbyx9mcWSb1YYEVPByx9qDwxyV53TfgowW4sZkzFb8utQGbFeSRWUHx65I3uGqppxLb4Cw40ytNTrBo3J2zj47Bybt0+Gh6io74N/G4VS+wDzJ9U1poPxK1Mtb2CsoCeWy1gmJUGU+4ckLVnH2SIrOCIs9KXD0hCVIrKCIzJIqKiuIbN27UvShdWUFxZ6eVngIKH9yvecrLy4NOAUUipj6cUQGlRVJ9+PDhw4cPH52FUzghbAHlNgoVoo2JwJESUiiAUHW+4uGzEU5sd3ymYKLCCfeeiJtYdnZ2SkBpbGyM5+XlJSig5OfnJ5zCifhHJl7xJKdOneopJkhCVCris3nNw+UeqhmD4apPny0ivMx98qmnifAyN0R4mfvkU08T4WUuxIHZPThTsJAxW4UTPhsSYYNf7cRCoZA+CyXEjZIIJaqKnTHjFzqqOsmOIm0w+U649YRm8bDDDlM7rqJUVVUFhw8fzhUVXUFpaGjQTbKiSlpDW+muK/BXUHz48OHDh4/MQgdx61Fhr6BcL4IIPxk2r3lSr3vslRKunOhqicMspacQI+N+6usdvt7hOSjcKJudnZ3gKx6vFZRXX33VLS+19dxKIHHrCTVzf80zatSoQGVlpb7m4Vc8/JpHEqaCikhQYVI0GlVVvEckc2GhiGSK3+bx5a0+08zobaI7+lFV3PBlOA+A04NWhBEhMefKT0C0ATFX3htViFDVNvPhw4cPHz52O8hYaAb0FqptLkOgflamZ5SImZI8c4WEz9xcllo5kfFUBRQxVyFFzJzCiqq0o1vqKZTwmaqM/yqg8NWO/YpHBRQRSBLr169PFhcX87m9vScGLczcA7jXgK5mbQkoIpRQb1ZSUptlBWEBhYmw6CMOQUWFFT47iWa2uaoiudFMBRNRg7ZKvSgqoAT5IKoSzUU10GeXmQ8fPnz48LFbQYZBFUYsXQu9DIEqoFDRr3PETg9ZEz2FE76+iduCiQobVI2g4iTbrsUzBZPs7GwVTPjc2NiY4B4U7j3hCgpXT0pKShJr1qzpyOZYgxZm7gHca0BXM6/Nsu6vebiSEolEQpLAEFWRpHQ1RRiiKykizKhgYsz4LGQEElUNSYZVIDGqMEW8BSmoUKFAoqsoojpXUoiO5MmHDx8+fPjYHdBiwJfxMqUXqGBCiDmfde+IgIKJqmJG4UQFFVFTwor9rAJJKBRKPZPMqx0ZtwndHEsBhSsoXDnhCgr3qPaEgEK0+TWPey8KhRSuoOTk5KiwQmFDBBNVhQEqpIiqepJkzgglaiaZVoFEVLpTgYR6WzVCCc1VMLH1qjJ9fBZm8rEFbDc+fPjw4cNHv4WMg14Du5rLeMpH59kk+kxJRFQqKqjI2Jl63SNmuilWzPRIe6riLyWkiH1MxvLUMyUSCii2GucKCgUTGf+5gpLae8ID2sS+hXDCBNkCimceBC3MdzVop+xvvfXWwOLFi1W/q1c9FFL4qkfMJK8qlPDVT5B7UvjuhxDmhCVjZoVFV0rkmSfRpvaaUC9MoSBiVk5UMOEzVUmKpsc8S7BtCiJtmfvw4cOHDx/9BTJetjW4p17vyDjaYiVFhk5dSZFxtYWgQpKxUYUUGT/NKx8VVKgn5FkFFD6LqmaEjOt8laN7TmR8V8GkrVc7TAQFFH4VfPvttzvT32ZeiF0N2k57fW7vXBQKKc6VFAooFFQk0bxMMCQCiaoUWGy9EUrUXFQKKpRDVBUjCipUyVHnKx0joBCqGr3D3I22zH348OHDh4/+gjYHdQolDsGEUL2MrapSIKEq46mq1MtwSi2FEyO8pF7/hMNh3V9iBBPR83RZFUxkjFeBxL1yIs8qmFBAGThwYMK1ckK0SJ+temJXg7bTXp+dAgpV50oKVdGnBBUKKZJQVSmkUGChIEJBRfKYeqYqTEgJJLSjKkxRwYRCh23POFVIIQmzvAQSt17RjuDiw4cPHz589AtQsLAf3WhhbtxRlTGVz05BxQgnuroi47CebeJUaW4Ek6ysLK6YJCigRKNRvbXYKZiIedKsnKxYsYL3Cqlwwvi7U0AxcLrT5/b2pIhAohtnJZMqqEj+AkZQoZBihBUx53OAqrilQELBJGBUCiVUjUBiSJihcVOAoWrgCyE+fPjw4eOzDqdwQlXGWwoiSapGQKHePFMgoUoBhIIIhRTaizlf6xiBhIezthJMxExpF3tOCC9hxMsshY4O6K3cmT0pzpUUqm0JKiJZUa/PFE7y8/NVlcxQENFnChiS0ZRQIm75WkcFD5IwhdeZazxGT5V6wtj58OHDhw8fnzVQqLAfU8IJIWOyCiR8ptrY2Kj2fCYZgUTGaBVS+GwEEhIFkZqammR7ggnDNsIJn3tVQBGomdcrH6puQUUEEKXS0lLdTMtVFQorhYWFqlJPAcNebdFnI3DQjCqFEZqJPbUKt1Di1vvw4cOHDx+7OyhU2I8KL72MvSnBRYSSlIBCYcToqRqBhKrRV1ZWqtoTgolBZwdzL/dqtitBZcKECfrsFFYomHBlhe74TNUpuDjNCSOodFQIMe59+PDhw4eP3RUUIuxHTxhhxemOwgZVCiJGb4QR6t0CSba9+dXsMeEz3XWHYGLQ1QHcy5+auQUVwimsUPUSWGhOmGeutDj1Bl4Ciw8fPnz48OGjJbwEEgMKHVR37NihqtETXgIJzd1CCdEdgolBugO8l381M4KKQUcEFgNjbkAhxn5sBbcA48OHDx8+fHzW4RQ42gKFEKpG8CA6KpAYdIdgYpCpwd0rnBZm7QksbrgFGB8+fPjw4cNHZuEUTAinIGLQjkBi4CWEeJl1GpkWANoLr4XdrbfeCnMyrRfaE2B8+PDhw4cPH+nDLYA4YZ/8autSaE/4yIhgYtDdQkBHwvd0QwGmo2hP0PHhw4cPHz4+S6BgYT/uEh4CiEFHwsioQOJGbw3s3RGvL6T48OHDh4/POrpTaOhWgcSNvj6o+0KHDx8+fPjw0T3oUYHDhw8fPnz48OHDhw8fPnz48OHDR2YB/D9GMmBW9PFndQAAAABJRU5ErkJggg==">
            <a:extLst>
              <a:ext uri="{FF2B5EF4-FFF2-40B4-BE49-F238E27FC236}">
                <a16:creationId xmlns:a16="http://schemas.microsoft.com/office/drawing/2014/main" id="{94EF8714-392D-4121-8B3F-BA3C645F8B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8" name="Picture 7" descr="A picture containing screenshot&#10;&#10;Description generated with high confidence">
            <a:extLst>
              <a:ext uri="{FF2B5EF4-FFF2-40B4-BE49-F238E27FC236}">
                <a16:creationId xmlns:a16="http://schemas.microsoft.com/office/drawing/2014/main" id="{7BA4BF80-3554-4DD7-ACDE-6EE7457CAA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2960" y="1298541"/>
            <a:ext cx="7397555" cy="3956118"/>
          </a:xfrm>
          <a:prstGeom prst="rect">
            <a:avLst/>
          </a:prstGeom>
        </p:spPr>
      </p:pic>
      <p:sp>
        <p:nvSpPr>
          <p:cNvPr id="9" name="Rectangle 8">
            <a:extLst>
              <a:ext uri="{FF2B5EF4-FFF2-40B4-BE49-F238E27FC236}">
                <a16:creationId xmlns:a16="http://schemas.microsoft.com/office/drawing/2014/main" id="{D19EFBED-A2B3-4FAF-BEF7-77BC1B28C422}"/>
              </a:ext>
            </a:extLst>
          </p:cNvPr>
          <p:cNvSpPr/>
          <p:nvPr/>
        </p:nvSpPr>
        <p:spPr>
          <a:xfrm>
            <a:off x="7328044" y="413571"/>
            <a:ext cx="28752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563C1"/>
                </a:solidFill>
                <a:effectLst/>
                <a:highlight>
                  <a:srgbClr val="FFFF00"/>
                </a:highlight>
                <a:uLnTx/>
                <a:uFillTx/>
                <a:latin typeface="Calibri" panose="020F0502020204030204" pitchFamily="34" charset="0"/>
                <a:ea typeface="Calibri" panose="020F0502020204030204" pitchFamily="34" charset="0"/>
                <a:cs typeface="+mn-cs"/>
                <a:hlinkClick r:id="rId4"/>
              </a:rPr>
              <a:t>https://aka.ms/ASApreview1</a:t>
            </a:r>
            <a:endParaRPr kumimoji="0" lang="en-US" sz="1800" b="0" i="0" u="none" strike="noStrike" kern="1200" cap="none" spc="0" normalizeH="0" baseline="0" noProof="0" dirty="0">
              <a:ln>
                <a:noFill/>
              </a:ln>
              <a:solidFill>
                <a:srgbClr val="505050"/>
              </a:solidFill>
              <a:effectLst/>
              <a:highlight>
                <a:srgbClr val="FFFF00"/>
              </a:highlight>
              <a:uLnTx/>
              <a:uFillTx/>
              <a:latin typeface="Segoe UI"/>
              <a:cs typeface="+mn-cs"/>
            </a:endParaRPr>
          </a:p>
        </p:txBody>
      </p:sp>
      <p:sp>
        <p:nvSpPr>
          <p:cNvPr id="10" name="Rectangle 9">
            <a:extLst>
              <a:ext uri="{FF2B5EF4-FFF2-40B4-BE49-F238E27FC236}">
                <a16:creationId xmlns:a16="http://schemas.microsoft.com/office/drawing/2014/main" id="{32DF64B8-9697-4767-A1BC-CEF4675B7240}"/>
              </a:ext>
            </a:extLst>
          </p:cNvPr>
          <p:cNvSpPr/>
          <p:nvPr/>
        </p:nvSpPr>
        <p:spPr>
          <a:xfrm>
            <a:off x="7328044" y="154582"/>
            <a:ext cx="282641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Segoe UI"/>
                <a:ea typeface="+mn-ea"/>
                <a:cs typeface="+mn-cs"/>
              </a:rPr>
              <a:t>Request access to Preview</a:t>
            </a:r>
          </a:p>
        </p:txBody>
      </p:sp>
      <p:sp>
        <p:nvSpPr>
          <p:cNvPr id="11" name="Rectangle: Rounded Corners 10">
            <a:extLst>
              <a:ext uri="{FF2B5EF4-FFF2-40B4-BE49-F238E27FC236}">
                <a16:creationId xmlns:a16="http://schemas.microsoft.com/office/drawing/2014/main" id="{2B899C5F-2F56-46FF-A32C-2077685C3BCD}"/>
              </a:ext>
            </a:extLst>
          </p:cNvPr>
          <p:cNvSpPr/>
          <p:nvPr/>
        </p:nvSpPr>
        <p:spPr bwMode="auto">
          <a:xfrm>
            <a:off x="6863617" y="4197201"/>
            <a:ext cx="2062194" cy="1306671"/>
          </a:xfrm>
          <a:prstGeom prst="roundRect">
            <a:avLst/>
          </a:prstGeom>
          <a:noFill/>
          <a:ln w="508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BA612E47-B945-4024-B57D-E18374D06257}"/>
              </a:ext>
            </a:extLst>
          </p:cNvPr>
          <p:cNvSpPr/>
          <p:nvPr/>
        </p:nvSpPr>
        <p:spPr>
          <a:xfrm>
            <a:off x="7328044" y="4459768"/>
            <a:ext cx="1246369" cy="79489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88D4327E-5B3D-44CB-856E-ED8D4853C008}"/>
              </a:ext>
            </a:extLst>
          </p:cNvPr>
          <p:cNvSpPr/>
          <p:nvPr/>
        </p:nvSpPr>
        <p:spPr>
          <a:xfrm>
            <a:off x="7236641" y="4444740"/>
            <a:ext cx="1246369" cy="83099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SA modul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C# function</a:t>
            </a:r>
            <a:r>
              <a:rPr kumimoji="0" lang="en-US" sz="1200" b="0" i="0" u="none" strike="noStrike" kern="1200" cap="none" spc="0" normalizeH="0" noProof="0" dirty="0">
                <a:ln>
                  <a:noFill/>
                </a:ln>
                <a:solidFill>
                  <a:prstClr val="white"/>
                </a:solidFill>
                <a:effectLst/>
                <a:uLnTx/>
                <a:uFillTx/>
                <a:latin typeface="Calibri" panose="020F0502020204030204"/>
                <a:ea typeface="+mn-ea"/>
                <a:cs typeface="+mn-cs"/>
              </a:rPr>
              <a:t> with</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Calibri" panose="020F0502020204030204"/>
              </a:rPr>
              <a:t>ML.NET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for scoring</a:t>
            </a:r>
          </a:p>
        </p:txBody>
      </p:sp>
      <p:pic>
        <p:nvPicPr>
          <p:cNvPr id="15" name="Picture 2" descr="Image result for nuget logo">
            <a:extLst>
              <a:ext uri="{FF2B5EF4-FFF2-40B4-BE49-F238E27FC236}">
                <a16:creationId xmlns:a16="http://schemas.microsoft.com/office/drawing/2014/main" id="{AA176085-A435-4AEC-98D0-0B67E0CDE4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9508" y="4197202"/>
            <a:ext cx="686303" cy="68630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C349E0C8-D237-416C-9405-C35C9043384C}"/>
              </a:ext>
            </a:extLst>
          </p:cNvPr>
          <p:cNvGrpSpPr/>
          <p:nvPr/>
        </p:nvGrpSpPr>
        <p:grpSpPr>
          <a:xfrm>
            <a:off x="8315218" y="4853733"/>
            <a:ext cx="582614" cy="550777"/>
            <a:chOff x="8315218" y="4853733"/>
            <a:chExt cx="582614" cy="550777"/>
          </a:xfrm>
        </p:grpSpPr>
        <p:sp>
          <p:nvSpPr>
            <p:cNvPr id="16" name="Rectangle 15">
              <a:extLst>
                <a:ext uri="{FF2B5EF4-FFF2-40B4-BE49-F238E27FC236}">
                  <a16:creationId xmlns:a16="http://schemas.microsoft.com/office/drawing/2014/main" id="{62F65BFE-D116-40E6-A14E-F532AFAD5A17}"/>
                </a:ext>
              </a:extLst>
            </p:cNvPr>
            <p:cNvSpPr/>
            <p:nvPr/>
          </p:nvSpPr>
          <p:spPr bwMode="auto">
            <a:xfrm>
              <a:off x="8398502" y="5059892"/>
              <a:ext cx="478726" cy="13845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990ECEDE-C545-4FAF-9504-6B78DB6300E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315218" y="4853733"/>
              <a:ext cx="582614" cy="550777"/>
            </a:xfrm>
            <a:prstGeom prst="rect">
              <a:avLst/>
            </a:prstGeom>
          </p:spPr>
        </p:pic>
      </p:grpSp>
    </p:spTree>
    <p:extLst>
      <p:ext uri="{BB962C8B-B14F-4D97-AF65-F5344CB8AC3E}">
        <p14:creationId xmlns:p14="http://schemas.microsoft.com/office/powerpoint/2010/main" val="42788903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3">
            <a:extLst>
              <a:ext uri="{FF2B5EF4-FFF2-40B4-BE49-F238E27FC236}">
                <a16:creationId xmlns:a16="http://schemas.microsoft.com/office/drawing/2014/main" id="{16C134C1-2815-4117-9796-5167B3F68D9B}"/>
              </a:ext>
            </a:extLst>
          </p:cNvPr>
          <p:cNvSpPr txBox="1">
            <a:spLocks/>
          </p:cNvSpPr>
          <p:nvPr/>
        </p:nvSpPr>
        <p:spPr>
          <a:xfrm>
            <a:off x="7923773" y="1714613"/>
            <a:ext cx="4004967" cy="738151"/>
          </a:xfrm>
          <a:prstGeom prst="rect">
            <a:avLst/>
          </a:prstGeom>
        </p:spPr>
        <p:txBody>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Get Involved in OSS  </a:t>
            </a: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3"/>
              </a:rPr>
              <a:t>http://github.com/dotnet/machinelearning</a:t>
            </a: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4"/>
              </a:rPr>
              <a:t>/</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lvl="0" indent="0" algn="ctr">
              <a:buNone/>
              <a:defRPr/>
            </a:pPr>
            <a:r>
              <a:rPr lang="en-US" sz="1400" dirty="0">
                <a:solidFill>
                  <a:prstClr val="black"/>
                </a:solidFill>
                <a:latin typeface="Segoe UI" panose="020B0502040204020203" pitchFamily="34" charset="0"/>
                <a:cs typeface="Segoe UI" panose="020B0502040204020203" pitchFamily="34" charset="0"/>
                <a:hlinkClick r:id="rId5"/>
              </a:rPr>
              <a:t>http://aka.ms/newapifeedback/</a:t>
            </a:r>
            <a:r>
              <a:rPr lang="en-US" sz="1400" dirty="0">
                <a:solidFill>
                  <a:prstClr val="black"/>
                </a:solidFill>
                <a:latin typeface="Segoe UI" panose="020B0502040204020203" pitchFamily="34" charset="0"/>
                <a:cs typeface="Segoe UI" panose="020B0502040204020203" pitchFamily="34" charset="0"/>
              </a:rPr>
              <a:t>  </a:t>
            </a:r>
          </a:p>
        </p:txBody>
      </p:sp>
      <p:sp>
        <p:nvSpPr>
          <p:cNvPr id="7" name="Text Placeholder 13">
            <a:extLst>
              <a:ext uri="{FF2B5EF4-FFF2-40B4-BE49-F238E27FC236}">
                <a16:creationId xmlns:a16="http://schemas.microsoft.com/office/drawing/2014/main" id="{36B5B1AD-3B19-45BB-89FF-5E57C4E97513}"/>
              </a:ext>
            </a:extLst>
          </p:cNvPr>
          <p:cNvSpPr txBox="1">
            <a:spLocks/>
          </p:cNvSpPr>
          <p:nvPr/>
        </p:nvSpPr>
        <p:spPr>
          <a:xfrm>
            <a:off x="217463" y="1714613"/>
            <a:ext cx="3148735" cy="1104918"/>
          </a:xfrm>
          <a:prstGeom prst="rect">
            <a:avLst/>
          </a:prstGeom>
        </p:spPr>
        <p:txBody>
          <a:bodyPr vert="horz" wrap="square" lIns="91440" tIns="45720" rIns="91440" bIns="45720" rtlCol="0">
            <a:spAutoFit/>
          </a:bodyPr>
          <a:lstStyle>
            <a:lvl1pPr marL="227209" indent="-227209" algn="l" defTabSz="914400" rtl="0" eaLnBrk="1" latinLnBrk="0" hangingPunct="1">
              <a:lnSpc>
                <a:spcPct val="90000"/>
              </a:lnSpc>
              <a:spcBef>
                <a:spcPts val="1200"/>
              </a:spcBef>
              <a:buClr>
                <a:schemeClr val="tx1"/>
              </a:buClr>
              <a:buFont typeface="Wingdings" panose="05000000000000000000" pitchFamily="2" charset="2"/>
              <a:buChar char=""/>
              <a:defRPr sz="2941" b="0" kern="1200">
                <a:solidFill>
                  <a:schemeClr val="tx1"/>
                </a:solidFill>
                <a:latin typeface="+mn-lt"/>
                <a:ea typeface="+mn-ea"/>
                <a:cs typeface="+mn-cs"/>
              </a:defRPr>
            </a:lvl1pPr>
            <a:lvl2pPr marL="418625" indent="-168072" algn="l" defTabSz="914400" rtl="0" eaLnBrk="1" latinLnBrk="0" hangingPunct="1">
              <a:lnSpc>
                <a:spcPct val="90000"/>
              </a:lnSpc>
              <a:spcBef>
                <a:spcPts val="500"/>
              </a:spcBef>
              <a:buFont typeface="Wingdings" panose="05000000000000000000" pitchFamily="2" charset="2"/>
              <a:buChar char=""/>
              <a:defRPr sz="2353" b="0" kern="1200">
                <a:solidFill>
                  <a:schemeClr val="tx1"/>
                </a:solidFill>
                <a:latin typeface="+mn-lt"/>
                <a:ea typeface="+mn-ea"/>
                <a:cs typeface="+mn-cs"/>
              </a:defRPr>
            </a:lvl2pPr>
            <a:lvl3pPr marL="627160" indent="-185191" algn="l" defTabSz="914400" rtl="0" eaLnBrk="1" latinLnBrk="0" hangingPunct="1">
              <a:lnSpc>
                <a:spcPct val="90000"/>
              </a:lnSpc>
              <a:spcBef>
                <a:spcPts val="500"/>
              </a:spcBef>
              <a:buFont typeface="Wingdings" panose="05000000000000000000" pitchFamily="2" charset="2"/>
              <a:buChar char=""/>
              <a:tabLst/>
              <a:defRPr sz="2157" b="0" kern="1200">
                <a:solidFill>
                  <a:schemeClr val="tx1"/>
                </a:solidFill>
                <a:latin typeface="+mn-lt"/>
                <a:ea typeface="+mn-ea"/>
                <a:cs typeface="+mn-cs"/>
              </a:defRPr>
            </a:lvl3pPr>
            <a:lvl4pPr marL="812350" indent="-172742" algn="l" defTabSz="914400" rtl="0" eaLnBrk="1" latinLnBrk="0" hangingPunct="1">
              <a:lnSpc>
                <a:spcPct val="90000"/>
              </a:lnSpc>
              <a:spcBef>
                <a:spcPts val="500"/>
              </a:spcBef>
              <a:buFont typeface="Wingdings" panose="05000000000000000000" pitchFamily="2" charset="2"/>
              <a:buChar char=""/>
              <a:defRPr sz="2157" b="0" kern="1200">
                <a:solidFill>
                  <a:schemeClr val="tx1"/>
                </a:solidFill>
                <a:latin typeface="+mn-lt"/>
                <a:ea typeface="+mn-ea"/>
                <a:cs typeface="+mn-cs"/>
              </a:defRPr>
            </a:lvl4pPr>
            <a:lvl5pPr marL="1003766" indent="-166517" algn="l" defTabSz="914400" rtl="0" eaLnBrk="1" latinLnBrk="0" hangingPunct="1">
              <a:lnSpc>
                <a:spcPct val="90000"/>
              </a:lnSpc>
              <a:spcBef>
                <a:spcPts val="500"/>
              </a:spcBef>
              <a:buFont typeface="Wingdings" panose="05000000000000000000" pitchFamily="2" charset="2"/>
              <a:buChar char=""/>
              <a:tabLst/>
              <a:defRPr sz="2157"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prstClr val="black"/>
              </a:buClr>
              <a:buSzTx/>
              <a:buFont typeface="Wingdings" panose="05000000000000000000" pitchFamily="2" charset="2"/>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Get Started</a:t>
            </a:r>
            <a:b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6"/>
              </a:rPr>
              <a:t>dot.net/ml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90000"/>
              </a:lnSpc>
              <a:spcBef>
                <a:spcPts val="1200"/>
              </a:spcBef>
              <a:spcAft>
                <a:spcPts val="0"/>
              </a:spcAft>
              <a:buClr>
                <a:prstClr val="black"/>
              </a:buClr>
              <a:buSzTx/>
              <a:buFont typeface="Wingdings" panose="05000000000000000000" pitchFamily="2" charset="2"/>
              <a:buNone/>
              <a:tabLst/>
              <a:defRPr/>
            </a:pPr>
            <a:endPar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pic>
        <p:nvPicPr>
          <p:cNvPr id="9" name="Picture 8">
            <a:extLst>
              <a:ext uri="{FF2B5EF4-FFF2-40B4-BE49-F238E27FC236}">
                <a16:creationId xmlns:a16="http://schemas.microsoft.com/office/drawing/2014/main" id="{57893159-B9A4-4F6B-A203-4BACE69EBA1F}"/>
              </a:ext>
            </a:extLst>
          </p:cNvPr>
          <p:cNvPicPr>
            <a:picLocks noChangeAspect="1"/>
          </p:cNvPicPr>
          <p:nvPr/>
        </p:nvPicPr>
        <p:blipFill>
          <a:blip r:embed="rId7"/>
          <a:stretch>
            <a:fillRect/>
          </a:stretch>
        </p:blipFill>
        <p:spPr>
          <a:xfrm>
            <a:off x="217463" y="3071446"/>
            <a:ext cx="3060834" cy="1395046"/>
          </a:xfrm>
          <a:prstGeom prst="rect">
            <a:avLst/>
          </a:prstGeom>
        </p:spPr>
      </p:pic>
      <p:pic>
        <p:nvPicPr>
          <p:cNvPr id="10" name="Picture 9">
            <a:extLst>
              <a:ext uri="{FF2B5EF4-FFF2-40B4-BE49-F238E27FC236}">
                <a16:creationId xmlns:a16="http://schemas.microsoft.com/office/drawing/2014/main" id="{F2F1D961-BF19-4D9B-9074-B1B03F4F04CD}"/>
              </a:ext>
            </a:extLst>
          </p:cNvPr>
          <p:cNvPicPr>
            <a:picLocks noChangeAspect="1"/>
          </p:cNvPicPr>
          <p:nvPr/>
        </p:nvPicPr>
        <p:blipFill>
          <a:blip r:embed="rId8"/>
          <a:stretch>
            <a:fillRect/>
          </a:stretch>
        </p:blipFill>
        <p:spPr>
          <a:xfrm>
            <a:off x="8028254" y="2723556"/>
            <a:ext cx="3705567" cy="1915154"/>
          </a:xfrm>
          <a:prstGeom prst="rect">
            <a:avLst/>
          </a:prstGeom>
        </p:spPr>
      </p:pic>
      <p:sp>
        <p:nvSpPr>
          <p:cNvPr id="12" name="Text Placeholder 2">
            <a:extLst>
              <a:ext uri="{FF2B5EF4-FFF2-40B4-BE49-F238E27FC236}">
                <a16:creationId xmlns:a16="http://schemas.microsoft.com/office/drawing/2014/main" id="{8E64CF75-7D73-46D3-9A5B-2E60F261A75D}"/>
              </a:ext>
            </a:extLst>
          </p:cNvPr>
          <p:cNvSpPr txBox="1">
            <a:spLocks/>
          </p:cNvSpPr>
          <p:nvPr/>
        </p:nvSpPr>
        <p:spPr>
          <a:xfrm>
            <a:off x="0" y="1"/>
            <a:ext cx="12192000" cy="1271016"/>
          </a:xfrm>
          <a:prstGeom prst="rect">
            <a:avLst/>
          </a:prstGeom>
          <a:solidFill>
            <a:schemeClr val="tx1">
              <a:lumMod val="65000"/>
              <a:lumOff val="35000"/>
            </a:schemeClr>
          </a:solidFill>
          <a:ln>
            <a:noFill/>
          </a:ln>
        </p:spPr>
        <p:txBody>
          <a:bodyPr vert="horz" lIns="268927" tIns="44821" rIns="268927" bIns="44821" rtlCol="0" anchor="ctr">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Resources</a:t>
            </a:r>
          </a:p>
        </p:txBody>
      </p:sp>
      <p:pic>
        <p:nvPicPr>
          <p:cNvPr id="2" name="Picture 1">
            <a:extLst>
              <a:ext uri="{FF2B5EF4-FFF2-40B4-BE49-F238E27FC236}">
                <a16:creationId xmlns:a16="http://schemas.microsoft.com/office/drawing/2014/main" id="{08476412-A765-4E27-9DE4-F4D0F929CC61}"/>
              </a:ext>
            </a:extLst>
          </p:cNvPr>
          <p:cNvPicPr>
            <a:picLocks noChangeAspect="1"/>
          </p:cNvPicPr>
          <p:nvPr/>
        </p:nvPicPr>
        <p:blipFill>
          <a:blip r:embed="rId9"/>
          <a:stretch>
            <a:fillRect/>
          </a:stretch>
        </p:blipFill>
        <p:spPr>
          <a:xfrm>
            <a:off x="3506847" y="2760251"/>
            <a:ext cx="4233732" cy="1841764"/>
          </a:xfrm>
          <a:prstGeom prst="rect">
            <a:avLst/>
          </a:prstGeom>
        </p:spPr>
      </p:pic>
      <p:sp>
        <p:nvSpPr>
          <p:cNvPr id="8" name="Text Placeholder 13">
            <a:extLst>
              <a:ext uri="{FF2B5EF4-FFF2-40B4-BE49-F238E27FC236}">
                <a16:creationId xmlns:a16="http://schemas.microsoft.com/office/drawing/2014/main" id="{900DEEEA-1594-46BA-8E23-6E78862BD4F7}"/>
              </a:ext>
            </a:extLst>
          </p:cNvPr>
          <p:cNvSpPr txBox="1">
            <a:spLocks/>
          </p:cNvSpPr>
          <p:nvPr/>
        </p:nvSpPr>
        <p:spPr>
          <a:xfrm>
            <a:off x="3219450" y="1714613"/>
            <a:ext cx="4521129" cy="738151"/>
          </a:xfrm>
          <a:prstGeom prst="rect">
            <a:avLst/>
          </a:prstGeom>
        </p:spPr>
        <p:txBody>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0"/>
              </a:spcBef>
              <a:buNone/>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L.NET Samples</a:t>
            </a:r>
          </a:p>
          <a:p>
            <a:pPr marL="0" lvl="0" indent="0" algn="ctr">
              <a:spcBef>
                <a:spcPts val="0"/>
              </a:spcBef>
              <a:buNone/>
              <a:defRPr/>
            </a:pPr>
            <a:r>
              <a:rPr lang="en-US" sz="1800" dirty="0">
                <a:solidFill>
                  <a:prstClr val="black"/>
                </a:solidFill>
                <a:latin typeface="Segoe UI Light" panose="020B0502040204020203" pitchFamily="34" charset="0"/>
                <a:cs typeface="Segoe UI Light" panose="020B0502040204020203" pitchFamily="34" charset="0"/>
              </a:rPr>
              <a:t>(eShopDashboard, etc.)</a:t>
            </a: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a:t>
            </a:r>
            <a:r>
              <a:rPr lang="en-US" sz="1400" dirty="0">
                <a:solidFill>
                  <a:prstClr val="black"/>
                </a:solidFill>
                <a:latin typeface="Segoe UI" panose="020B0502040204020203" pitchFamily="34" charset="0"/>
                <a:cs typeface="Segoe UI" panose="020B0502040204020203" pitchFamily="34" charset="0"/>
                <a:hlinkClick r:id="rId10"/>
              </a:rPr>
              <a:t>http://github.com/dotnet/machinelearning-samples</a:t>
            </a:r>
            <a:endParaRPr lang="en-US" sz="1400" dirty="0">
              <a:solidFill>
                <a:prstClr val="black"/>
              </a:solidFill>
              <a:latin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2255C2F7-98CD-41A6-A890-9B1EC84803C9}"/>
              </a:ext>
            </a:extLst>
          </p:cNvPr>
          <p:cNvSpPr/>
          <p:nvPr/>
        </p:nvSpPr>
        <p:spPr>
          <a:xfrm>
            <a:off x="1102127" y="5373250"/>
            <a:ext cx="6754167" cy="76944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End-to-end Native App eShopOnContainers</a:t>
            </a:r>
            <a:r>
              <a:rPr kumimoji="0" lang="en-US" sz="2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I</a:t>
            </a: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a:p>
            <a:pPr marL="457183" marR="0" lvl="1"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1"/>
              </a:rPr>
              <a:t>https://github.com/dotnet-architecture/eShopOnContainersAI</a:t>
            </a: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p:txBody>
      </p:sp>
      <p:pic>
        <p:nvPicPr>
          <p:cNvPr id="6" name="Picture 5">
            <a:extLst>
              <a:ext uri="{FF2B5EF4-FFF2-40B4-BE49-F238E27FC236}">
                <a16:creationId xmlns:a16="http://schemas.microsoft.com/office/drawing/2014/main" id="{55F20807-F75D-414B-82A7-C673FD2427AB}"/>
              </a:ext>
            </a:extLst>
          </p:cNvPr>
          <p:cNvPicPr>
            <a:picLocks noChangeAspect="1"/>
          </p:cNvPicPr>
          <p:nvPr/>
        </p:nvPicPr>
        <p:blipFill>
          <a:blip r:embed="rId12"/>
          <a:stretch>
            <a:fillRect/>
          </a:stretch>
        </p:blipFill>
        <p:spPr>
          <a:xfrm>
            <a:off x="7740579" y="4942846"/>
            <a:ext cx="2620602" cy="1704710"/>
          </a:xfrm>
          <a:prstGeom prst="rect">
            <a:avLst/>
          </a:prstGeom>
          <a:ln w="3175">
            <a:solidFill>
              <a:schemeClr val="bg1">
                <a:lumMod val="65000"/>
              </a:schemeClr>
            </a:solidFill>
          </a:ln>
        </p:spPr>
      </p:pic>
    </p:spTree>
    <p:extLst>
      <p:ext uri="{BB962C8B-B14F-4D97-AF65-F5344CB8AC3E}">
        <p14:creationId xmlns:p14="http://schemas.microsoft.com/office/powerpoint/2010/main" val="3665795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70A72D96-A62C-45C2-9056-5D479A15E314}"/>
              </a:ext>
            </a:extLst>
          </p:cNvPr>
          <p:cNvSpPr txBox="1"/>
          <p:nvPr/>
        </p:nvSpPr>
        <p:spPr>
          <a:xfrm>
            <a:off x="2692820" y="2929004"/>
            <a:ext cx="180177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Is this a face?</a:t>
            </a:r>
          </a:p>
        </p:txBody>
      </p:sp>
      <p:pic>
        <p:nvPicPr>
          <p:cNvPr id="30" name="Picture 29" descr="A picture containing vector graphics&#10;&#10;Description generated with high confidence">
            <a:extLst>
              <a:ext uri="{FF2B5EF4-FFF2-40B4-BE49-F238E27FC236}">
                <a16:creationId xmlns:a16="http://schemas.microsoft.com/office/drawing/2014/main" id="{E30FA611-F5E6-45FF-8E2D-6AB267DBDB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820" y="3429000"/>
            <a:ext cx="1600200" cy="1600200"/>
          </a:xfrm>
          <a:prstGeom prst="rect">
            <a:avLst/>
          </a:prstGeom>
        </p:spPr>
      </p:pic>
      <p:sp>
        <p:nvSpPr>
          <p:cNvPr id="16" name="Rectangle 15">
            <a:extLst>
              <a:ext uri="{FF2B5EF4-FFF2-40B4-BE49-F238E27FC236}">
                <a16:creationId xmlns:a16="http://schemas.microsoft.com/office/drawing/2014/main" id="{DF9D2FAE-F449-44C2-8324-6676D963C999}"/>
              </a:ext>
            </a:extLst>
          </p:cNvPr>
          <p:cNvSpPr/>
          <p:nvPr/>
        </p:nvSpPr>
        <p:spPr>
          <a:xfrm>
            <a:off x="7440809" y="2806333"/>
            <a:ext cx="204908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Price of Shirt?</a:t>
            </a:r>
          </a:p>
        </p:txBody>
      </p:sp>
      <p:sp>
        <p:nvSpPr>
          <p:cNvPr id="31" name="TextBox 30">
            <a:extLst>
              <a:ext uri="{FF2B5EF4-FFF2-40B4-BE49-F238E27FC236}">
                <a16:creationId xmlns:a16="http://schemas.microsoft.com/office/drawing/2014/main" id="{535310F2-6DAB-4258-AA32-C975DF1305D9}"/>
              </a:ext>
            </a:extLst>
          </p:cNvPr>
          <p:cNvSpPr txBox="1"/>
          <p:nvPr/>
        </p:nvSpPr>
        <p:spPr>
          <a:xfrm>
            <a:off x="7561732" y="3412475"/>
            <a:ext cx="6780605"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It has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exquisite</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buttons … </a:t>
            </a:r>
            <a:b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with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long sleeves </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works for</a:t>
            </a:r>
            <a:b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casual as well as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business </a:t>
            </a:r>
            <a:b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settings</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a:t>
            </a:r>
          </a:p>
        </p:txBody>
      </p:sp>
      <p:sp>
        <p:nvSpPr>
          <p:cNvPr id="17" name="TextBox 16">
            <a:extLst>
              <a:ext uri="{FF2B5EF4-FFF2-40B4-BE49-F238E27FC236}">
                <a16:creationId xmlns:a16="http://schemas.microsoft.com/office/drawing/2014/main" id="{586C0F61-D8B6-418E-8B4A-5A61A6B0A155}"/>
              </a:ext>
            </a:extLst>
          </p:cNvPr>
          <p:cNvSpPr txBox="1"/>
          <p:nvPr/>
        </p:nvSpPr>
        <p:spPr>
          <a:xfrm>
            <a:off x="1788405" y="2127994"/>
            <a:ext cx="904415" cy="31547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900" b="0" i="0" u="none" strike="noStrike" kern="1200" cap="none" spc="0" normalizeH="0" baseline="0" noProof="0">
                <a:ln>
                  <a:noFill/>
                </a:ln>
                <a:solidFill>
                  <a:prstClr val="white">
                    <a:lumMod val="85000"/>
                  </a:prstClr>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a:extLst>
              <a:ext uri="{FF2B5EF4-FFF2-40B4-BE49-F238E27FC236}">
                <a16:creationId xmlns:a16="http://schemas.microsoft.com/office/drawing/2014/main" id="{B2264A6B-C466-466B-84B3-F6CFDD896316}"/>
              </a:ext>
            </a:extLst>
          </p:cNvPr>
          <p:cNvSpPr txBox="1"/>
          <p:nvPr/>
        </p:nvSpPr>
        <p:spPr>
          <a:xfrm>
            <a:off x="419403" y="3067943"/>
            <a:ext cx="1519968"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endParaRPr kumimoji="0" lang="en-US" sz="96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1BB2C8C1-D456-49E0-ADC8-C53307B0126B}"/>
              </a:ext>
            </a:extLst>
          </p:cNvPr>
          <p:cNvSpPr txBox="1"/>
          <p:nvPr/>
        </p:nvSpPr>
        <p:spPr>
          <a:xfrm>
            <a:off x="6536394" y="2150054"/>
            <a:ext cx="904415" cy="31547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900" b="0" i="0" u="none" strike="noStrike" kern="1200" cap="none" spc="0" normalizeH="0" baseline="0" noProof="0">
                <a:ln>
                  <a:noFill/>
                </a:ln>
                <a:solidFill>
                  <a:prstClr val="white">
                    <a:lumMod val="85000"/>
                  </a:prstClr>
                </a:solidFill>
                <a:effectLst/>
                <a:uLnTx/>
                <a:uFillTx/>
                <a:latin typeface="Segoe UI Light" panose="020B0502040204020203" pitchFamily="34" charset="0"/>
                <a:ea typeface="+mn-ea"/>
                <a:cs typeface="Segoe UI Light" panose="020B0502040204020203" pitchFamily="34" charset="0"/>
              </a:rPr>
              <a:t>{</a:t>
            </a:r>
          </a:p>
        </p:txBody>
      </p:sp>
      <p:sp>
        <p:nvSpPr>
          <p:cNvPr id="33" name="TextBox 32">
            <a:extLst>
              <a:ext uri="{FF2B5EF4-FFF2-40B4-BE49-F238E27FC236}">
                <a16:creationId xmlns:a16="http://schemas.microsoft.com/office/drawing/2014/main" id="{0109A617-34EB-43B4-9564-CD59F95CCEC5}"/>
              </a:ext>
            </a:extLst>
          </p:cNvPr>
          <p:cNvSpPr txBox="1"/>
          <p:nvPr/>
        </p:nvSpPr>
        <p:spPr>
          <a:xfrm>
            <a:off x="5167392" y="3090003"/>
            <a:ext cx="1519968"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endParaRPr kumimoji="0" lang="en-US" sz="96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11" name="Title 1">
            <a:extLst>
              <a:ext uri="{FF2B5EF4-FFF2-40B4-BE49-F238E27FC236}">
                <a16:creationId xmlns:a16="http://schemas.microsoft.com/office/drawing/2014/main" id="{E02C268A-E705-40B7-99AA-CE965AA56869}"/>
              </a:ext>
            </a:extLst>
          </p:cNvPr>
          <p:cNvSpPr txBox="1">
            <a:spLocks/>
          </p:cNvSpPr>
          <p:nvPr/>
        </p:nvSpPr>
        <p:spPr>
          <a:xfrm>
            <a:off x="419403" y="456031"/>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ctr" defTabSz="913055" rtl="0" eaLnBrk="1" fontAlgn="auto" latinLnBrk="0" hangingPunct="1">
              <a:lnSpc>
                <a:spcPct val="90000"/>
              </a:lnSpc>
              <a:spcBef>
                <a:spcPts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t>Machine Learning  </a:t>
            </a:r>
            <a:b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b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ogramming the UnProgrammable”</a:t>
            </a:r>
            <a:endParaRPr kumimoji="0" lang="en-US" sz="4400" b="0" i="0" u="none" strike="noStrike" kern="1200" cap="none" spc="-100" normalizeH="0" baseline="0" noProof="0" dirty="0">
              <a:ln w="3175">
                <a:noFill/>
              </a:ln>
              <a:solidFill>
                <a:srgbClr val="505050"/>
              </a:solidFill>
              <a:effectLst/>
              <a:uLnTx/>
              <a:uFillTx/>
              <a:latin typeface="Segoe UI Semibold" panose="020B0702040204020203" pitchFamily="34" charset="0"/>
              <a:ea typeface="+mn-ea"/>
              <a:cs typeface="Segoe UI" pitchFamily="34" charset="0"/>
            </a:endParaRPr>
          </a:p>
        </p:txBody>
      </p:sp>
    </p:spTree>
    <p:extLst>
      <p:ext uri="{BB962C8B-B14F-4D97-AF65-F5344CB8AC3E}">
        <p14:creationId xmlns:p14="http://schemas.microsoft.com/office/powerpoint/2010/main" val="2038448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16" grpId="0"/>
      <p:bldP spid="31" grpId="0"/>
      <p:bldP spid="17" grpId="0"/>
      <p:bldP spid="21" grpId="0"/>
      <p:bldP spid="32" grpId="0"/>
      <p:bldP spid="3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1948" y="2930402"/>
            <a:ext cx="9144000" cy="498598"/>
          </a:xfrm>
        </p:spPr>
        <p:txBody>
          <a:bodyPr/>
          <a:lstStyle/>
          <a:p>
            <a:r>
              <a:rPr lang="en-SG" dirty="0"/>
              <a:t>T</a:t>
            </a:r>
            <a:r>
              <a:rPr lang="en-US" dirty="0"/>
              <a:t>hank you.</a:t>
            </a:r>
          </a:p>
        </p:txBody>
      </p:sp>
    </p:spTree>
    <p:extLst>
      <p:ext uri="{BB962C8B-B14F-4D97-AF65-F5344CB8AC3E}">
        <p14:creationId xmlns:p14="http://schemas.microsoft.com/office/powerpoint/2010/main" val="234510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E693E41-868D-4EC1-B7E5-42E5993A912E}"/>
              </a:ext>
            </a:extLst>
          </p:cNvPr>
          <p:cNvSpPr txBox="1"/>
          <p:nvPr/>
        </p:nvSpPr>
        <p:spPr>
          <a:xfrm>
            <a:off x="7203700" y="2704611"/>
            <a:ext cx="59933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Face</a:t>
            </a:r>
          </a:p>
        </p:txBody>
      </p:sp>
      <p:pic>
        <p:nvPicPr>
          <p:cNvPr id="12" name="Picture 11" descr="A close up of a logo&#10;&#10;Description generated with very high confidence">
            <a:extLst>
              <a:ext uri="{FF2B5EF4-FFF2-40B4-BE49-F238E27FC236}">
                <a16:creationId xmlns:a16="http://schemas.microsoft.com/office/drawing/2014/main" id="{EAA27606-B619-4CEE-B04C-307BA16A5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8228" y="2088075"/>
            <a:ext cx="1602404" cy="1602404"/>
          </a:xfrm>
          <a:prstGeom prst="rect">
            <a:avLst/>
          </a:prstGeom>
        </p:spPr>
      </p:pic>
      <p:pic>
        <p:nvPicPr>
          <p:cNvPr id="13" name="Picture 12" descr="A picture containing vector graphics&#10;&#10;Description generated with high confidence">
            <a:extLst>
              <a:ext uri="{FF2B5EF4-FFF2-40B4-BE49-F238E27FC236}">
                <a16:creationId xmlns:a16="http://schemas.microsoft.com/office/drawing/2014/main" id="{6B63A90E-FD89-46A8-AC0A-B6805A9346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07448" y="2032253"/>
            <a:ext cx="1600200" cy="1600200"/>
          </a:xfrm>
          <a:prstGeom prst="rect">
            <a:avLst/>
          </a:prstGeom>
        </p:spPr>
      </p:pic>
      <p:sp>
        <p:nvSpPr>
          <p:cNvPr id="14" name="TextBox 13">
            <a:extLst>
              <a:ext uri="{FF2B5EF4-FFF2-40B4-BE49-F238E27FC236}">
                <a16:creationId xmlns:a16="http://schemas.microsoft.com/office/drawing/2014/main" id="{15627D11-6694-4BB0-8914-3F56155B463B}"/>
              </a:ext>
            </a:extLst>
          </p:cNvPr>
          <p:cNvSpPr txBox="1"/>
          <p:nvPr/>
        </p:nvSpPr>
        <p:spPr>
          <a:xfrm>
            <a:off x="10307648" y="2647687"/>
            <a:ext cx="59933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Face</a:t>
            </a:r>
          </a:p>
        </p:txBody>
      </p:sp>
      <p:sp>
        <p:nvSpPr>
          <p:cNvPr id="15" name="TextBox 14">
            <a:extLst>
              <a:ext uri="{FF2B5EF4-FFF2-40B4-BE49-F238E27FC236}">
                <a16:creationId xmlns:a16="http://schemas.microsoft.com/office/drawing/2014/main" id="{B862AB89-2C4F-439E-BDD1-397B153A9B2A}"/>
              </a:ext>
            </a:extLst>
          </p:cNvPr>
          <p:cNvSpPr txBox="1"/>
          <p:nvPr/>
        </p:nvSpPr>
        <p:spPr>
          <a:xfrm>
            <a:off x="7120632" y="4459233"/>
            <a:ext cx="139942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Not a face</a:t>
            </a:r>
          </a:p>
        </p:txBody>
      </p:sp>
      <p:pic>
        <p:nvPicPr>
          <p:cNvPr id="18" name="Picture 17">
            <a:extLst>
              <a:ext uri="{FF2B5EF4-FFF2-40B4-BE49-F238E27FC236}">
                <a16:creationId xmlns:a16="http://schemas.microsoft.com/office/drawing/2014/main" id="{AD1690F1-1891-40E8-8BDA-3F5F359990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65697" y="3843799"/>
            <a:ext cx="1600200" cy="1600200"/>
          </a:xfrm>
          <a:prstGeom prst="rect">
            <a:avLst/>
          </a:prstGeom>
        </p:spPr>
      </p:pic>
      <p:pic>
        <p:nvPicPr>
          <p:cNvPr id="19" name="Picture 18">
            <a:extLst>
              <a:ext uri="{FF2B5EF4-FFF2-40B4-BE49-F238E27FC236}">
                <a16:creationId xmlns:a16="http://schemas.microsoft.com/office/drawing/2014/main" id="{9990C2B1-42F3-4A2D-82C3-C7254F204E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01230" y="3749321"/>
            <a:ext cx="1856063" cy="1833760"/>
          </a:xfrm>
          <a:prstGeom prst="rect">
            <a:avLst/>
          </a:prstGeom>
        </p:spPr>
      </p:pic>
      <p:sp>
        <p:nvSpPr>
          <p:cNvPr id="20" name="TextBox 19">
            <a:extLst>
              <a:ext uri="{FF2B5EF4-FFF2-40B4-BE49-F238E27FC236}">
                <a16:creationId xmlns:a16="http://schemas.microsoft.com/office/drawing/2014/main" id="{F926A502-4065-499B-867E-C643E23E02D8}"/>
              </a:ext>
            </a:extLst>
          </p:cNvPr>
          <p:cNvSpPr txBox="1"/>
          <p:nvPr/>
        </p:nvSpPr>
        <p:spPr>
          <a:xfrm>
            <a:off x="10310901" y="4481535"/>
            <a:ext cx="139942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Not a face</a:t>
            </a:r>
          </a:p>
        </p:txBody>
      </p:sp>
      <p:sp>
        <p:nvSpPr>
          <p:cNvPr id="22" name="TextBox 21">
            <a:extLst>
              <a:ext uri="{FF2B5EF4-FFF2-40B4-BE49-F238E27FC236}">
                <a16:creationId xmlns:a16="http://schemas.microsoft.com/office/drawing/2014/main" id="{5A73E83B-86EC-4D53-8207-0790349BB017}"/>
              </a:ext>
            </a:extLst>
          </p:cNvPr>
          <p:cNvSpPr txBox="1"/>
          <p:nvPr/>
        </p:nvSpPr>
        <p:spPr>
          <a:xfrm>
            <a:off x="3151487" y="2925468"/>
            <a:ext cx="1519968" cy="20621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b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br>
            <a:r>
              <a:rPr kumimoji="0" lang="en-US" sz="32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Model</a:t>
            </a:r>
            <a:endPar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2FEC2A3C-19F8-4F30-8766-9EA6AD812155}"/>
              </a:ext>
            </a:extLst>
          </p:cNvPr>
          <p:cNvSpPr txBox="1"/>
          <p:nvPr/>
        </p:nvSpPr>
        <p:spPr>
          <a:xfrm>
            <a:off x="4502353" y="1227771"/>
            <a:ext cx="1223412" cy="45089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700" b="0" i="0" u="none" strike="noStrike" kern="1200" cap="none" spc="0" normalizeH="0" baseline="0" noProof="0">
                <a:ln>
                  <a:noFill/>
                </a:ln>
                <a:solidFill>
                  <a:prstClr val="white">
                    <a:lumMod val="95000"/>
                  </a:prstClr>
                </a:solidFill>
                <a:effectLst/>
                <a:uLnTx/>
                <a:uFillTx/>
                <a:latin typeface="Segoe UI Light" panose="020B0502040204020203" pitchFamily="34" charset="0"/>
                <a:ea typeface="+mn-ea"/>
                <a:cs typeface="Segoe UI Light" panose="020B0502040204020203" pitchFamily="34" charset="0"/>
              </a:rPr>
              <a:t>{</a:t>
            </a:r>
          </a:p>
        </p:txBody>
      </p:sp>
      <p:sp>
        <p:nvSpPr>
          <p:cNvPr id="25" name="Title 1">
            <a:extLst>
              <a:ext uri="{FF2B5EF4-FFF2-40B4-BE49-F238E27FC236}">
                <a16:creationId xmlns:a16="http://schemas.microsoft.com/office/drawing/2014/main" id="{AEBFD86C-01B6-4341-8BD3-84DED229D3DD}"/>
              </a:ext>
            </a:extLst>
          </p:cNvPr>
          <p:cNvSpPr txBox="1">
            <a:spLocks/>
          </p:cNvSpPr>
          <p:nvPr/>
        </p:nvSpPr>
        <p:spPr>
          <a:xfrm>
            <a:off x="176002" y="130566"/>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3055" rtl="0" eaLnBrk="1" fontAlgn="auto" latinLnBrk="0" hangingPunct="1">
              <a:lnSpc>
                <a:spcPct val="90000"/>
              </a:lnSpc>
              <a:spcBef>
                <a:spcPts val="0"/>
              </a:spcBef>
              <a:spcAft>
                <a:spcPts val="0"/>
              </a:spcAft>
              <a:buClrTx/>
              <a:buSzTx/>
              <a:buFontTx/>
              <a:buNone/>
              <a:tabLst/>
              <a:defRPr/>
            </a:pPr>
            <a:endParaRPr kumimoji="0" lang="en-US" sz="5333" b="0" i="0" u="none" strike="noStrike" kern="1200" cap="none" spc="-100" normalizeH="0" baseline="0" noProof="0">
              <a:ln w="3175">
                <a:noFill/>
              </a:ln>
              <a:solidFill>
                <a:prstClr val="white">
                  <a:lumMod val="50000"/>
                </a:prstClr>
              </a:solidFill>
              <a:effectLst/>
              <a:uLnTx/>
              <a:uFillTx/>
              <a:latin typeface="Segoe UI Semibold" panose="020B0702040204020203" pitchFamily="34" charset="0"/>
              <a:ea typeface="+mn-ea"/>
              <a:cs typeface="Segoe UI" pitchFamily="34" charset="0"/>
            </a:endParaRPr>
          </a:p>
        </p:txBody>
      </p:sp>
      <p:sp>
        <p:nvSpPr>
          <p:cNvPr id="2" name="TextBox 1">
            <a:extLst>
              <a:ext uri="{FF2B5EF4-FFF2-40B4-BE49-F238E27FC236}">
                <a16:creationId xmlns:a16="http://schemas.microsoft.com/office/drawing/2014/main" id="{6EADD2CF-422D-4874-BE3E-7F1BD177304A}"/>
              </a:ext>
            </a:extLst>
          </p:cNvPr>
          <p:cNvSpPr txBox="1"/>
          <p:nvPr/>
        </p:nvSpPr>
        <p:spPr>
          <a:xfrm>
            <a:off x="105336" y="2539965"/>
            <a:ext cx="449488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creates a</a:t>
            </a:r>
          </a:p>
        </p:txBody>
      </p:sp>
      <p:sp>
        <p:nvSpPr>
          <p:cNvPr id="28" name="TextBox 27">
            <a:extLst>
              <a:ext uri="{FF2B5EF4-FFF2-40B4-BE49-F238E27FC236}">
                <a16:creationId xmlns:a16="http://schemas.microsoft.com/office/drawing/2014/main" id="{126248F2-8602-4914-871E-9A2FAF800D75}"/>
              </a:ext>
            </a:extLst>
          </p:cNvPr>
          <p:cNvSpPr txBox="1"/>
          <p:nvPr/>
        </p:nvSpPr>
        <p:spPr>
          <a:xfrm>
            <a:off x="2266843" y="4987571"/>
            <a:ext cx="254428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ing this data</a:t>
            </a:r>
          </a:p>
        </p:txBody>
      </p:sp>
      <p:sp>
        <p:nvSpPr>
          <p:cNvPr id="16" name="Title 1">
            <a:extLst>
              <a:ext uri="{FF2B5EF4-FFF2-40B4-BE49-F238E27FC236}">
                <a16:creationId xmlns:a16="http://schemas.microsoft.com/office/drawing/2014/main" id="{C65AB84D-E6AC-4794-AC14-85B674D48DDB}"/>
              </a:ext>
            </a:extLst>
          </p:cNvPr>
          <p:cNvSpPr txBox="1">
            <a:spLocks/>
          </p:cNvSpPr>
          <p:nvPr/>
        </p:nvSpPr>
        <p:spPr>
          <a:xfrm>
            <a:off x="419403" y="456031"/>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ctr" defTabSz="913055" rtl="0" eaLnBrk="1" fontAlgn="auto" latinLnBrk="0" hangingPunct="1">
              <a:lnSpc>
                <a:spcPct val="90000"/>
              </a:lnSpc>
              <a:spcBef>
                <a:spcPts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t>Machine Learning  </a:t>
            </a:r>
            <a:b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b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ogramming the UnProgrammable”</a:t>
            </a:r>
            <a:endParaRPr kumimoji="0" lang="en-US" sz="4400" b="0" i="0" u="none" strike="noStrike" kern="1200" cap="none" spc="-100" normalizeH="0" baseline="0" noProof="0" dirty="0">
              <a:ln w="3175">
                <a:noFill/>
              </a:ln>
              <a:solidFill>
                <a:srgbClr val="505050"/>
              </a:solidFill>
              <a:effectLst/>
              <a:uLnTx/>
              <a:uFillTx/>
              <a:latin typeface="Segoe UI Semibold" panose="020B0702040204020203" pitchFamily="34" charset="0"/>
              <a:ea typeface="+mn-ea"/>
              <a:cs typeface="Segoe UI" pitchFamily="34" charset="0"/>
            </a:endParaRPr>
          </a:p>
        </p:txBody>
      </p:sp>
      <p:sp>
        <p:nvSpPr>
          <p:cNvPr id="3" name="Rectangle 2">
            <a:extLst>
              <a:ext uri="{FF2B5EF4-FFF2-40B4-BE49-F238E27FC236}">
                <a16:creationId xmlns:a16="http://schemas.microsoft.com/office/drawing/2014/main" id="{5FC4618C-D85C-4F02-A4A5-F6EF3B74E649}"/>
              </a:ext>
            </a:extLst>
          </p:cNvPr>
          <p:cNvSpPr/>
          <p:nvPr/>
        </p:nvSpPr>
        <p:spPr>
          <a:xfrm>
            <a:off x="4932011" y="6030780"/>
            <a:ext cx="7014036"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ut it needs a lot of sample training data in order to predict properly…   ;)</a:t>
            </a:r>
          </a:p>
        </p:txBody>
      </p:sp>
    </p:spTree>
    <p:extLst>
      <p:ext uri="{BB962C8B-B14F-4D97-AF65-F5344CB8AC3E}">
        <p14:creationId xmlns:p14="http://schemas.microsoft.com/office/powerpoint/2010/main" val="216287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1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297" y="2930402"/>
            <a:ext cx="11004518" cy="997196"/>
          </a:xfrm>
        </p:spPr>
        <p:txBody>
          <a:bodyPr/>
          <a:lstStyle/>
          <a:p>
            <a:r>
              <a:rPr lang="en-US" dirty="0"/>
              <a:t>What problems can you solve with Machine Learning?</a:t>
            </a:r>
          </a:p>
        </p:txBody>
      </p:sp>
    </p:spTree>
    <p:extLst>
      <p:ext uri="{BB962C8B-B14F-4D97-AF65-F5344CB8AC3E}">
        <p14:creationId xmlns:p14="http://schemas.microsoft.com/office/powerpoint/2010/main" val="205583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B497300-BC19-4572-B8E4-5FD28EC70FCD}"/>
              </a:ext>
            </a:extLst>
          </p:cNvPr>
          <p:cNvSpPr>
            <a:spLocks noGrp="1"/>
          </p:cNvSpPr>
          <p:nvPr>
            <p:ph type="title"/>
          </p:nvPr>
        </p:nvSpPr>
        <p:spPr>
          <a:xfrm>
            <a:off x="522685" y="244024"/>
            <a:ext cx="6688854" cy="966203"/>
          </a:xfrm>
        </p:spPr>
        <p:txBody>
          <a:bodyPr>
            <a:normAutofit fontScale="90000"/>
          </a:bodyPr>
          <a:lstStyle/>
          <a:p>
            <a:r>
              <a:rPr lang="en-US" dirty="0">
                <a:latin typeface="Segoe UI Light" panose="020B0502040204020203" pitchFamily="34" charset="0"/>
                <a:cs typeface="Segoe UI Light" panose="020B0502040204020203" pitchFamily="34" charset="0"/>
              </a:rPr>
              <a:t>Many Machine Learning Tasks!</a:t>
            </a:r>
          </a:p>
        </p:txBody>
      </p:sp>
      <p:sp>
        <p:nvSpPr>
          <p:cNvPr id="8" name="Rectangle 7">
            <a:extLst>
              <a:ext uri="{FF2B5EF4-FFF2-40B4-BE49-F238E27FC236}">
                <a16:creationId xmlns:a16="http://schemas.microsoft.com/office/drawing/2014/main" id="{B6EBDDB4-D072-4F0F-A6ED-C20157242E9B}"/>
              </a:ext>
            </a:extLst>
          </p:cNvPr>
          <p:cNvSpPr/>
          <p:nvPr/>
        </p:nvSpPr>
        <p:spPr>
          <a:xfrm>
            <a:off x="777566" y="2335210"/>
            <a:ext cx="377218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Linear Discriminant Analysis</a:t>
            </a:r>
          </a:p>
        </p:txBody>
      </p:sp>
      <p:sp>
        <p:nvSpPr>
          <p:cNvPr id="9" name="Rectangle 8">
            <a:extLst>
              <a:ext uri="{FF2B5EF4-FFF2-40B4-BE49-F238E27FC236}">
                <a16:creationId xmlns:a16="http://schemas.microsoft.com/office/drawing/2014/main" id="{9BEC7485-5481-4D87-8B9B-CD7337E42960}"/>
              </a:ext>
            </a:extLst>
          </p:cNvPr>
          <p:cNvSpPr/>
          <p:nvPr/>
        </p:nvSpPr>
        <p:spPr>
          <a:xfrm>
            <a:off x="2581976" y="2726038"/>
            <a:ext cx="2490938" cy="70788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Regression</a:t>
            </a:r>
          </a:p>
        </p:txBody>
      </p:sp>
      <p:sp>
        <p:nvSpPr>
          <p:cNvPr id="10" name="Rectangle 9">
            <a:extLst>
              <a:ext uri="{FF2B5EF4-FFF2-40B4-BE49-F238E27FC236}">
                <a16:creationId xmlns:a16="http://schemas.microsoft.com/office/drawing/2014/main" id="{CC70CD4B-CE62-4B41-99DF-B2A18AF073E3}"/>
              </a:ext>
            </a:extLst>
          </p:cNvPr>
          <p:cNvSpPr/>
          <p:nvPr/>
        </p:nvSpPr>
        <p:spPr>
          <a:xfrm>
            <a:off x="6489363" y="4967012"/>
            <a:ext cx="2993833" cy="954107"/>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Neural Network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utoencod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elf-organizing maps, etc.)</a:t>
            </a:r>
          </a:p>
        </p:txBody>
      </p:sp>
      <p:sp>
        <p:nvSpPr>
          <p:cNvPr id="13" name="Rectangle 12">
            <a:extLst>
              <a:ext uri="{FF2B5EF4-FFF2-40B4-BE49-F238E27FC236}">
                <a16:creationId xmlns:a16="http://schemas.microsoft.com/office/drawing/2014/main" id="{A7581EBD-465C-409E-8F55-05372D6C6B07}"/>
              </a:ext>
            </a:extLst>
          </p:cNvPr>
          <p:cNvSpPr/>
          <p:nvPr/>
        </p:nvSpPr>
        <p:spPr>
          <a:xfrm>
            <a:off x="1400116" y="1594729"/>
            <a:ext cx="3712298"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rPr>
              <a:t>Supervised ML </a:t>
            </a:r>
            <a:r>
              <a:rPr kumimoji="0" lang="en-US" sz="20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rPr>
              <a:t>(Infers label)</a:t>
            </a:r>
            <a:endParaRPr kumimoji="0" lang="en-US" sz="28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endParaRPr>
          </a:p>
        </p:txBody>
      </p:sp>
      <p:sp>
        <p:nvSpPr>
          <p:cNvPr id="14" name="Rectangle 13">
            <a:extLst>
              <a:ext uri="{FF2B5EF4-FFF2-40B4-BE49-F238E27FC236}">
                <a16:creationId xmlns:a16="http://schemas.microsoft.com/office/drawing/2014/main" id="{56F40E4B-940A-4155-A49B-E26789ABE473}"/>
              </a:ext>
            </a:extLst>
          </p:cNvPr>
          <p:cNvSpPr/>
          <p:nvPr/>
        </p:nvSpPr>
        <p:spPr>
          <a:xfrm>
            <a:off x="7297460" y="1599323"/>
            <a:ext cx="4539128"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rPr>
              <a:t>Unsupervised ML </a:t>
            </a:r>
            <a:r>
              <a:rPr kumimoji="0" lang="en-US" sz="20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rPr>
              <a:t>(Infers structure)</a:t>
            </a:r>
            <a:endPar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1D98044-23F0-4ED1-9F5C-8C85AAEEF016}"/>
              </a:ext>
            </a:extLst>
          </p:cNvPr>
          <p:cNvSpPr/>
          <p:nvPr/>
        </p:nvSpPr>
        <p:spPr>
          <a:xfrm>
            <a:off x="6534559" y="2818371"/>
            <a:ext cx="2455544"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Topic Modeling</a:t>
            </a:r>
          </a:p>
        </p:txBody>
      </p:sp>
      <p:sp>
        <p:nvSpPr>
          <p:cNvPr id="16" name="Rectangle 15">
            <a:extLst>
              <a:ext uri="{FF2B5EF4-FFF2-40B4-BE49-F238E27FC236}">
                <a16:creationId xmlns:a16="http://schemas.microsoft.com/office/drawing/2014/main" id="{06C80480-7C50-474C-89E2-0C674E1C1C64}"/>
              </a:ext>
            </a:extLst>
          </p:cNvPr>
          <p:cNvSpPr/>
          <p:nvPr/>
        </p:nvSpPr>
        <p:spPr>
          <a:xfrm>
            <a:off x="7211539" y="3397577"/>
            <a:ext cx="338528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mensionality Reduction</a:t>
            </a:r>
          </a:p>
        </p:txBody>
      </p:sp>
      <p:sp>
        <p:nvSpPr>
          <p:cNvPr id="17" name="Rectangle 16">
            <a:extLst>
              <a:ext uri="{FF2B5EF4-FFF2-40B4-BE49-F238E27FC236}">
                <a16:creationId xmlns:a16="http://schemas.microsoft.com/office/drawing/2014/main" id="{8DD58CD0-3E23-42BF-A595-DEE11B592B49}"/>
              </a:ext>
            </a:extLst>
          </p:cNvPr>
          <p:cNvSpPr/>
          <p:nvPr/>
        </p:nvSpPr>
        <p:spPr>
          <a:xfrm>
            <a:off x="3047252" y="5008016"/>
            <a:ext cx="3059427" cy="800219"/>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Neural Network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ultiLayer</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erception, etc.)</a:t>
            </a:r>
          </a:p>
        </p:txBody>
      </p:sp>
      <p:sp>
        <p:nvSpPr>
          <p:cNvPr id="18" name="Rectangle 17">
            <a:extLst>
              <a:ext uri="{FF2B5EF4-FFF2-40B4-BE49-F238E27FC236}">
                <a16:creationId xmlns:a16="http://schemas.microsoft.com/office/drawing/2014/main" id="{05F9F2B4-048C-44B7-ABCA-41BEBBA00063}"/>
              </a:ext>
            </a:extLst>
          </p:cNvPr>
          <p:cNvSpPr/>
          <p:nvPr/>
        </p:nvSpPr>
        <p:spPr>
          <a:xfrm>
            <a:off x="9060435" y="4710375"/>
            <a:ext cx="207127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opic modeling</a:t>
            </a:r>
          </a:p>
        </p:txBody>
      </p:sp>
      <p:sp>
        <p:nvSpPr>
          <p:cNvPr id="12" name="Rectangle 11">
            <a:extLst>
              <a:ext uri="{FF2B5EF4-FFF2-40B4-BE49-F238E27FC236}">
                <a16:creationId xmlns:a16="http://schemas.microsoft.com/office/drawing/2014/main" id="{2607D443-0DA1-4D53-A75B-259A85216664}"/>
              </a:ext>
            </a:extLst>
          </p:cNvPr>
          <p:cNvSpPr/>
          <p:nvPr/>
        </p:nvSpPr>
        <p:spPr>
          <a:xfrm>
            <a:off x="416001" y="2992917"/>
            <a:ext cx="1968231"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ructured prediction</a:t>
            </a:r>
          </a:p>
        </p:txBody>
      </p:sp>
      <p:sp>
        <p:nvSpPr>
          <p:cNvPr id="19" name="Rectangle 18">
            <a:extLst>
              <a:ext uri="{FF2B5EF4-FFF2-40B4-BE49-F238E27FC236}">
                <a16:creationId xmlns:a16="http://schemas.microsoft.com/office/drawing/2014/main" id="{C8E2A340-D67E-494A-97A3-18F6C6B0038E}"/>
              </a:ext>
            </a:extLst>
          </p:cNvPr>
          <p:cNvSpPr/>
          <p:nvPr/>
        </p:nvSpPr>
        <p:spPr>
          <a:xfrm>
            <a:off x="976020" y="3660952"/>
            <a:ext cx="2621230"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Decision Trees</a:t>
            </a:r>
          </a:p>
        </p:txBody>
      </p:sp>
      <p:sp>
        <p:nvSpPr>
          <p:cNvPr id="20" name="Rectangle 19">
            <a:extLst>
              <a:ext uri="{FF2B5EF4-FFF2-40B4-BE49-F238E27FC236}">
                <a16:creationId xmlns:a16="http://schemas.microsoft.com/office/drawing/2014/main" id="{BBAF8C1E-0254-4BE6-918C-108A1938A88D}"/>
              </a:ext>
            </a:extLst>
          </p:cNvPr>
          <p:cNvSpPr/>
          <p:nvPr/>
        </p:nvSpPr>
        <p:spPr>
          <a:xfrm>
            <a:off x="1177574" y="3288535"/>
            <a:ext cx="1722844"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Naïve Bayes</a:t>
            </a:r>
          </a:p>
        </p:txBody>
      </p:sp>
      <p:sp>
        <p:nvSpPr>
          <p:cNvPr id="21" name="Rectangle 20">
            <a:extLst>
              <a:ext uri="{FF2B5EF4-FFF2-40B4-BE49-F238E27FC236}">
                <a16:creationId xmlns:a16="http://schemas.microsoft.com/office/drawing/2014/main" id="{39A335B3-ED38-426C-9ACA-868E658C9076}"/>
              </a:ext>
            </a:extLst>
          </p:cNvPr>
          <p:cNvSpPr/>
          <p:nvPr/>
        </p:nvSpPr>
        <p:spPr>
          <a:xfrm>
            <a:off x="3064775" y="4120627"/>
            <a:ext cx="267496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inary Classification</a:t>
            </a:r>
          </a:p>
        </p:txBody>
      </p:sp>
      <p:sp>
        <p:nvSpPr>
          <p:cNvPr id="22" name="Rectangle 21">
            <a:extLst>
              <a:ext uri="{FF2B5EF4-FFF2-40B4-BE49-F238E27FC236}">
                <a16:creationId xmlns:a16="http://schemas.microsoft.com/office/drawing/2014/main" id="{EEFE64BC-C2C8-43EB-B884-F4DF2DD433D8}"/>
              </a:ext>
            </a:extLst>
          </p:cNvPr>
          <p:cNvSpPr/>
          <p:nvPr/>
        </p:nvSpPr>
        <p:spPr>
          <a:xfrm>
            <a:off x="1252538" y="4509723"/>
            <a:ext cx="3840475"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Multi-class Classification</a:t>
            </a:r>
          </a:p>
        </p:txBody>
      </p:sp>
      <p:sp>
        <p:nvSpPr>
          <p:cNvPr id="23" name="Rectangle 22">
            <a:extLst>
              <a:ext uri="{FF2B5EF4-FFF2-40B4-BE49-F238E27FC236}">
                <a16:creationId xmlns:a16="http://schemas.microsoft.com/office/drawing/2014/main" id="{40160BF1-19B6-446B-B052-1D3CEF6361CE}"/>
              </a:ext>
            </a:extLst>
          </p:cNvPr>
          <p:cNvSpPr/>
          <p:nvPr/>
        </p:nvSpPr>
        <p:spPr>
          <a:xfrm>
            <a:off x="8990103" y="2248299"/>
            <a:ext cx="2523063" cy="76944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n-ea"/>
                <a:cs typeface="+mn-cs"/>
              </a:rPr>
              <a:t>Clustering</a:t>
            </a:r>
          </a:p>
        </p:txBody>
      </p:sp>
      <p:sp>
        <p:nvSpPr>
          <p:cNvPr id="24" name="Rectangle 23">
            <a:extLst>
              <a:ext uri="{FF2B5EF4-FFF2-40B4-BE49-F238E27FC236}">
                <a16:creationId xmlns:a16="http://schemas.microsoft.com/office/drawing/2014/main" id="{26D98181-A61D-4B79-A2EC-71D077825702}"/>
              </a:ext>
            </a:extLst>
          </p:cNvPr>
          <p:cNvSpPr/>
          <p:nvPr/>
        </p:nvSpPr>
        <p:spPr>
          <a:xfrm>
            <a:off x="7839318" y="3810204"/>
            <a:ext cx="3830729" cy="64633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Anomaly detection</a:t>
            </a:r>
          </a:p>
        </p:txBody>
      </p:sp>
      <p:sp>
        <p:nvSpPr>
          <p:cNvPr id="2" name="Rectangle 1">
            <a:extLst>
              <a:ext uri="{FF2B5EF4-FFF2-40B4-BE49-F238E27FC236}">
                <a16:creationId xmlns:a16="http://schemas.microsoft.com/office/drawing/2014/main" id="{12108518-19A0-4AD9-959A-6785BE3A9468}"/>
              </a:ext>
            </a:extLst>
          </p:cNvPr>
          <p:cNvSpPr/>
          <p:nvPr/>
        </p:nvSpPr>
        <p:spPr>
          <a:xfrm>
            <a:off x="6320446" y="4382237"/>
            <a:ext cx="2552237"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Latent variable models</a:t>
            </a:r>
          </a:p>
        </p:txBody>
      </p:sp>
      <p:sp>
        <p:nvSpPr>
          <p:cNvPr id="25" name="Rectangle 24">
            <a:extLst>
              <a:ext uri="{FF2B5EF4-FFF2-40B4-BE49-F238E27FC236}">
                <a16:creationId xmlns:a16="http://schemas.microsoft.com/office/drawing/2014/main" id="{3828B3D7-C5EE-4CFF-9885-87EB50938A31}"/>
              </a:ext>
            </a:extLst>
          </p:cNvPr>
          <p:cNvSpPr/>
          <p:nvPr/>
        </p:nvSpPr>
        <p:spPr>
          <a:xfrm>
            <a:off x="3685392" y="3309193"/>
            <a:ext cx="1712648"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inear regress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ogistic regression</a:t>
            </a:r>
          </a:p>
        </p:txBody>
      </p:sp>
      <p:sp>
        <p:nvSpPr>
          <p:cNvPr id="3" name="Rectangle 2">
            <a:extLst>
              <a:ext uri="{FF2B5EF4-FFF2-40B4-BE49-F238E27FC236}">
                <a16:creationId xmlns:a16="http://schemas.microsoft.com/office/drawing/2014/main" id="{31C1BD3F-3EFA-4B4B-ADB1-7871B26CBCC8}"/>
              </a:ext>
            </a:extLst>
          </p:cNvPr>
          <p:cNvSpPr/>
          <p:nvPr/>
        </p:nvSpPr>
        <p:spPr>
          <a:xfrm>
            <a:off x="745896" y="5026826"/>
            <a:ext cx="1918346"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rPr>
              <a:t>k-nearest neighbor</a:t>
            </a:r>
          </a:p>
        </p:txBody>
      </p:sp>
      <p:sp>
        <p:nvSpPr>
          <p:cNvPr id="4" name="Rectangle 3">
            <a:extLst>
              <a:ext uri="{FF2B5EF4-FFF2-40B4-BE49-F238E27FC236}">
                <a16:creationId xmlns:a16="http://schemas.microsoft.com/office/drawing/2014/main" id="{ACA3F11C-0B09-409E-9D5F-ABD5301B66FC}"/>
              </a:ext>
            </a:extLst>
          </p:cNvPr>
          <p:cNvSpPr/>
          <p:nvPr/>
        </p:nvSpPr>
        <p:spPr>
          <a:xfrm>
            <a:off x="1579441" y="5907875"/>
            <a:ext cx="2554867"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rPr>
              <a:t> Support Vector Machines</a:t>
            </a:r>
          </a:p>
        </p:txBody>
      </p:sp>
      <p:sp>
        <p:nvSpPr>
          <p:cNvPr id="26" name="Rectangle 25">
            <a:extLst>
              <a:ext uri="{FF2B5EF4-FFF2-40B4-BE49-F238E27FC236}">
                <a16:creationId xmlns:a16="http://schemas.microsoft.com/office/drawing/2014/main" id="{A2F22B61-348C-41E3-8E47-3B837A75295B}"/>
              </a:ext>
            </a:extLst>
          </p:cNvPr>
          <p:cNvSpPr/>
          <p:nvPr/>
        </p:nvSpPr>
        <p:spPr>
          <a:xfrm>
            <a:off x="9947032" y="2821495"/>
            <a:ext cx="1683153" cy="64633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K-mean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ixture model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Hierarchical clustering)</a:t>
            </a:r>
          </a:p>
        </p:txBody>
      </p:sp>
    </p:spTree>
    <p:extLst>
      <p:ext uri="{BB962C8B-B14F-4D97-AF65-F5344CB8AC3E}">
        <p14:creationId xmlns:p14="http://schemas.microsoft.com/office/powerpoint/2010/main" val="21335922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80783" y="2118383"/>
            <a:ext cx="9491663" cy="1328738"/>
          </a:xfrm>
        </p:spPr>
        <p:txBody>
          <a:bodyPr/>
          <a:lstStyle/>
          <a:p>
            <a:r>
              <a:rPr lang="en-US" sz="4800" i="1" dirty="0">
                <a:latin typeface="Segoe UI Light" panose="020B0502040204020203" pitchFamily="34" charset="0"/>
                <a:cs typeface="Segoe UI Light" panose="020B0502040204020203" pitchFamily="34" charset="0"/>
              </a:rPr>
              <a:t>“Democratize Machine Learning and </a:t>
            </a:r>
            <a:br>
              <a:rPr lang="en-US" sz="4800" i="1" dirty="0">
                <a:latin typeface="Segoe UI Light" panose="020B0502040204020203" pitchFamily="34" charset="0"/>
                <a:cs typeface="Segoe UI Light" panose="020B0502040204020203" pitchFamily="34" charset="0"/>
              </a:rPr>
            </a:br>
            <a:r>
              <a:rPr lang="en-US" sz="4800" i="1" dirty="0">
                <a:latin typeface="Segoe UI Light" panose="020B0502040204020203" pitchFamily="34" charset="0"/>
                <a:cs typeface="Segoe UI Light" panose="020B0502040204020203" pitchFamily="34" charset="0"/>
              </a:rPr>
              <a:t>AI in general, for developers”</a:t>
            </a:r>
          </a:p>
        </p:txBody>
      </p:sp>
      <p:sp>
        <p:nvSpPr>
          <p:cNvPr id="4" name="Title 1">
            <a:extLst>
              <a:ext uri="{FF2B5EF4-FFF2-40B4-BE49-F238E27FC236}">
                <a16:creationId xmlns:a16="http://schemas.microsoft.com/office/drawing/2014/main" id="{26F09B1D-3178-4CDB-846E-47B259ED5BD7}"/>
              </a:ext>
            </a:extLst>
          </p:cNvPr>
          <p:cNvSpPr txBox="1">
            <a:spLocks/>
          </p:cNvSpPr>
          <p:nvPr/>
        </p:nvSpPr>
        <p:spPr>
          <a:xfrm>
            <a:off x="317237" y="324479"/>
            <a:ext cx="10973637" cy="1107996"/>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80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THE GOAL</a:t>
            </a:r>
          </a:p>
        </p:txBody>
      </p:sp>
      <p:pic>
        <p:nvPicPr>
          <p:cNvPr id="11" name="Picture 2" descr="Image result for complex Machine Learning math algorithms">
            <a:extLst>
              <a:ext uri="{FF2B5EF4-FFF2-40B4-BE49-F238E27FC236}">
                <a16:creationId xmlns:a16="http://schemas.microsoft.com/office/drawing/2014/main" id="{2EB18D81-FA86-4BF6-BBB0-06B25E8C6A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8230"/>
          <a:stretch/>
        </p:blipFill>
        <p:spPr bwMode="auto">
          <a:xfrm>
            <a:off x="2552130" y="3980869"/>
            <a:ext cx="7089853" cy="159424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A38C995F-1DFC-4AD1-9D65-E43EECFAB829}"/>
              </a:ext>
            </a:extLst>
          </p:cNvPr>
          <p:cNvSpPr/>
          <p:nvPr/>
        </p:nvSpPr>
        <p:spPr bwMode="auto">
          <a:xfrm>
            <a:off x="2422478" y="3875964"/>
            <a:ext cx="7362967" cy="1849272"/>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49779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idx="4294967295"/>
          </p:nvPr>
        </p:nvSpPr>
        <p:spPr>
          <a:xfrm>
            <a:off x="838200" y="2084388"/>
            <a:ext cx="11353800" cy="1403350"/>
          </a:xfrm>
        </p:spPr>
        <p:txBody>
          <a:bodyPr/>
          <a:lstStyle/>
          <a:p>
            <a:r>
              <a:rPr lang="en-US" sz="4400" dirty="0"/>
              <a:t>What AI, Machine Learning and Deep Learning technologies can you use in  .NET applications? </a:t>
            </a:r>
          </a:p>
        </p:txBody>
      </p:sp>
    </p:spTree>
    <p:extLst>
      <p:ext uri="{BB962C8B-B14F-4D97-AF65-F5344CB8AC3E}">
        <p14:creationId xmlns:p14="http://schemas.microsoft.com/office/powerpoint/2010/main" val="205571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6E6B3-59E0-4376-ADA3-FD7BA9125BF4}"/>
              </a:ext>
            </a:extLst>
          </p:cNvPr>
          <p:cNvSpPr>
            <a:spLocks noGrp="1"/>
          </p:cNvSpPr>
          <p:nvPr>
            <p:ph type="title"/>
          </p:nvPr>
        </p:nvSpPr>
        <p:spPr>
          <a:xfrm>
            <a:off x="251073" y="289511"/>
            <a:ext cx="11242511" cy="899665"/>
          </a:xfrm>
        </p:spPr>
        <p:txBody>
          <a:bodyPr/>
          <a:lstStyle/>
          <a:p>
            <a:r>
              <a:rPr lang="en-US" sz="4800" dirty="0">
                <a:latin typeface="Segoe UI Light" panose="020B0502040204020203" pitchFamily="34" charset="0"/>
                <a:ea typeface="+mj-ea"/>
                <a:cs typeface="Segoe UI Light" panose="020B0502040204020203" pitchFamily="34" charset="0"/>
              </a:rPr>
              <a:t>AI &amp; ML portfolio for .NET applications</a:t>
            </a:r>
            <a:br>
              <a:rPr lang="en-US" b="1" dirty="0"/>
            </a:br>
            <a:endParaRPr lang="en-US" b="1" dirty="0"/>
          </a:p>
        </p:txBody>
      </p:sp>
      <p:sp>
        <p:nvSpPr>
          <p:cNvPr id="10" name="Rectangle 9">
            <a:extLst>
              <a:ext uri="{FF2B5EF4-FFF2-40B4-BE49-F238E27FC236}">
                <a16:creationId xmlns:a16="http://schemas.microsoft.com/office/drawing/2014/main" id="{DD627258-0802-440E-BE50-A91F95E222DD}"/>
              </a:ext>
            </a:extLst>
          </p:cNvPr>
          <p:cNvSpPr/>
          <p:nvPr/>
        </p:nvSpPr>
        <p:spPr>
          <a:xfrm>
            <a:off x="1275798" y="1896617"/>
            <a:ext cx="2676833" cy="514628"/>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I, ML and DeepLearning technologies</a:t>
            </a:r>
          </a:p>
        </p:txBody>
      </p:sp>
      <p:sp>
        <p:nvSpPr>
          <p:cNvPr id="41" name="Rectangle 40">
            <a:extLst>
              <a:ext uri="{FF2B5EF4-FFF2-40B4-BE49-F238E27FC236}">
                <a16:creationId xmlns:a16="http://schemas.microsoft.com/office/drawing/2014/main" id="{008292F1-A4F1-4057-AD4E-73903115A5D2}"/>
              </a:ext>
            </a:extLst>
          </p:cNvPr>
          <p:cNvSpPr/>
          <p:nvPr/>
        </p:nvSpPr>
        <p:spPr>
          <a:xfrm>
            <a:off x="315078" y="1327326"/>
            <a:ext cx="9065813" cy="458034"/>
          </a:xfrm>
          <a:prstGeom prst="rect">
            <a:avLst/>
          </a:prstGeom>
        </p:spPr>
        <p:txBody>
          <a:bodyPr vert="horz" wrap="square" lIns="143428" tIns="89642" rIns="143428" bIns="89642" rtlCol="0" anchor="ctr">
            <a:spAutoFit/>
          </a:bodyPr>
          <a:lstStyle/>
          <a:p>
            <a:pPr marL="0" marR="0" lvl="0" indent="0" algn="l" defTabSz="914367" rtl="0" eaLnBrk="1" fontAlgn="auto" latinLnBrk="0" hangingPunct="1">
              <a:lnSpc>
                <a:spcPct val="90000"/>
              </a:lnSpc>
              <a:spcBef>
                <a:spcPts val="1176"/>
              </a:spcBef>
              <a:spcAft>
                <a:spcPts val="0"/>
              </a:spcAft>
              <a:buClr>
                <a:srgbClr val="0078D7"/>
              </a:buClr>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sume pre-built/pre-trained models or build your own custom model?</a:t>
            </a:r>
          </a:p>
        </p:txBody>
      </p:sp>
      <p:grpSp>
        <p:nvGrpSpPr>
          <p:cNvPr id="28" name="Group 27">
            <a:extLst>
              <a:ext uri="{FF2B5EF4-FFF2-40B4-BE49-F238E27FC236}">
                <a16:creationId xmlns:a16="http://schemas.microsoft.com/office/drawing/2014/main" id="{7971233C-4E87-4E3F-ACED-5E57DC7A2CB4}"/>
              </a:ext>
            </a:extLst>
          </p:cNvPr>
          <p:cNvGrpSpPr/>
          <p:nvPr/>
        </p:nvGrpSpPr>
        <p:grpSpPr>
          <a:xfrm>
            <a:off x="431197" y="4772338"/>
            <a:ext cx="10886556" cy="1262854"/>
            <a:chOff x="308083" y="5018725"/>
            <a:chExt cx="11009670" cy="1262854"/>
          </a:xfrm>
        </p:grpSpPr>
        <p:sp>
          <p:nvSpPr>
            <p:cNvPr id="29" name="Rectangle 28">
              <a:extLst>
                <a:ext uri="{FF2B5EF4-FFF2-40B4-BE49-F238E27FC236}">
                  <a16:creationId xmlns:a16="http://schemas.microsoft.com/office/drawing/2014/main" id="{587685F1-B3CA-4A5A-85D8-EB59FE114882}"/>
                </a:ext>
              </a:extLst>
            </p:cNvPr>
            <p:cNvSpPr/>
            <p:nvPr/>
          </p:nvSpPr>
          <p:spPr bwMode="auto">
            <a:xfrm>
              <a:off x="308083" y="5644815"/>
              <a:ext cx="11009670" cy="6367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6C1A4A15-AF46-4B1B-98C7-C2FA06F4B323}"/>
                </a:ext>
              </a:extLst>
            </p:cNvPr>
            <p:cNvSpPr/>
            <p:nvPr/>
          </p:nvSpPr>
          <p:spPr>
            <a:xfrm>
              <a:off x="4503202" y="5343088"/>
              <a:ext cx="2676833" cy="301727"/>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lient apps</a:t>
              </a:r>
            </a:p>
          </p:txBody>
        </p:sp>
        <p:sp>
          <p:nvSpPr>
            <p:cNvPr id="31" name="Rectangle 30">
              <a:extLst>
                <a:ext uri="{FF2B5EF4-FFF2-40B4-BE49-F238E27FC236}">
                  <a16:creationId xmlns:a16="http://schemas.microsoft.com/office/drawing/2014/main" id="{7A1B90BA-9326-45F5-97A6-8513244B54EF}"/>
                </a:ext>
              </a:extLst>
            </p:cNvPr>
            <p:cNvSpPr/>
            <p:nvPr/>
          </p:nvSpPr>
          <p:spPr>
            <a:xfrm>
              <a:off x="1024169" y="5818511"/>
              <a:ext cx="1506360"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Bot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Bot Framework)</a:t>
              </a:r>
            </a:p>
          </p:txBody>
        </p:sp>
        <p:sp>
          <p:nvSpPr>
            <p:cNvPr id="32" name="Rectangle 31">
              <a:extLst>
                <a:ext uri="{FF2B5EF4-FFF2-40B4-BE49-F238E27FC236}">
                  <a16:creationId xmlns:a16="http://schemas.microsoft.com/office/drawing/2014/main" id="{49124B17-A867-411C-9ADE-C16A95426D49}"/>
                </a:ext>
              </a:extLst>
            </p:cNvPr>
            <p:cNvSpPr/>
            <p:nvPr/>
          </p:nvSpPr>
          <p:spPr>
            <a:xfrm>
              <a:off x="5088439" y="5818511"/>
              <a:ext cx="1506360"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eb app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SP.NET)</a:t>
              </a:r>
            </a:p>
          </p:txBody>
        </p:sp>
        <p:sp>
          <p:nvSpPr>
            <p:cNvPr id="33" name="Rectangle 32">
              <a:extLst>
                <a:ext uri="{FF2B5EF4-FFF2-40B4-BE49-F238E27FC236}">
                  <a16:creationId xmlns:a16="http://schemas.microsoft.com/office/drawing/2014/main" id="{8A9D0D93-0741-4285-91D2-4A0BF91B9B38}"/>
                </a:ext>
              </a:extLst>
            </p:cNvPr>
            <p:cNvSpPr/>
            <p:nvPr/>
          </p:nvSpPr>
          <p:spPr>
            <a:xfrm>
              <a:off x="8482160" y="5818511"/>
              <a:ext cx="2678394"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Mobile apps </a:t>
              </a: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d</a:t>
              </a: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IoT Edge device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Xamarin)                (IoT Edge SDKS)</a:t>
              </a:r>
            </a:p>
          </p:txBody>
        </p:sp>
        <p:sp>
          <p:nvSpPr>
            <p:cNvPr id="34" name="Rectangle 33">
              <a:extLst>
                <a:ext uri="{FF2B5EF4-FFF2-40B4-BE49-F238E27FC236}">
                  <a16:creationId xmlns:a16="http://schemas.microsoft.com/office/drawing/2014/main" id="{CA10725F-9DE8-4138-9EC8-302A8777DEDE}"/>
                </a:ext>
              </a:extLst>
            </p:cNvPr>
            <p:cNvSpPr/>
            <p:nvPr/>
          </p:nvSpPr>
          <p:spPr bwMode="auto">
            <a:xfrm>
              <a:off x="308083" y="5314567"/>
              <a:ext cx="11009670" cy="330244"/>
            </a:xfrm>
            <a:prstGeom prst="rect">
              <a:avLst/>
            </a:prstGeom>
            <a:solidFill>
              <a:srgbClr val="0078D7">
                <a:alpha val="5000"/>
              </a:srgb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Arrow: Up 35">
              <a:extLst>
                <a:ext uri="{FF2B5EF4-FFF2-40B4-BE49-F238E27FC236}">
                  <a16:creationId xmlns:a16="http://schemas.microsoft.com/office/drawing/2014/main" id="{39CD22FD-4369-4B53-98FF-8E3915AC0E4A}"/>
                </a:ext>
              </a:extLst>
            </p:cNvPr>
            <p:cNvSpPr/>
            <p:nvPr/>
          </p:nvSpPr>
          <p:spPr bwMode="auto">
            <a:xfrm>
              <a:off x="5704732" y="5018725"/>
              <a:ext cx="273772" cy="23290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0" name="Rectangle 39">
            <a:extLst>
              <a:ext uri="{FF2B5EF4-FFF2-40B4-BE49-F238E27FC236}">
                <a16:creationId xmlns:a16="http://schemas.microsoft.com/office/drawing/2014/main" id="{3DB176BB-E123-4B01-8F5B-EB433C5BE88E}"/>
              </a:ext>
            </a:extLst>
          </p:cNvPr>
          <p:cNvSpPr/>
          <p:nvPr/>
        </p:nvSpPr>
        <p:spPr bwMode="auto">
          <a:xfrm>
            <a:off x="431197" y="1911855"/>
            <a:ext cx="10886556" cy="2794469"/>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3DE5AE83-0086-47AB-BA6A-BDB327DF747E}"/>
              </a:ext>
            </a:extLst>
          </p:cNvPr>
          <p:cNvGrpSpPr/>
          <p:nvPr/>
        </p:nvGrpSpPr>
        <p:grpSpPr>
          <a:xfrm>
            <a:off x="536844" y="2349961"/>
            <a:ext cx="4129913" cy="1754068"/>
            <a:chOff x="536844" y="2349961"/>
            <a:chExt cx="4129913" cy="1754068"/>
          </a:xfrm>
        </p:grpSpPr>
        <p:sp>
          <p:nvSpPr>
            <p:cNvPr id="12" name="Rectangle 11">
              <a:extLst>
                <a:ext uri="{FF2B5EF4-FFF2-40B4-BE49-F238E27FC236}">
                  <a16:creationId xmlns:a16="http://schemas.microsoft.com/office/drawing/2014/main" id="{F13A6BEC-587F-4521-9363-AA8EEB64E52A}"/>
                </a:ext>
              </a:extLst>
            </p:cNvPr>
            <p:cNvSpPr/>
            <p:nvPr/>
          </p:nvSpPr>
          <p:spPr>
            <a:xfrm>
              <a:off x="1053135" y="2845887"/>
              <a:ext cx="2791117" cy="473335"/>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00" b="1"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sume</a:t>
              </a:r>
              <a:r>
                <a:rPr kumimoji="0" lang="en-US" sz="1176"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a:t>
              </a:r>
              <a:br>
                <a:rPr kumimoji="0" lang="en-US" sz="1176"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br>
              <a:r>
                <a:rPr kumimoji="0" lang="en-US" sz="1176"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Pre-built AI: Ready to use)</a:t>
              </a:r>
            </a:p>
          </p:txBody>
        </p:sp>
        <p:sp>
          <p:nvSpPr>
            <p:cNvPr id="13" name="Rectangle 12">
              <a:extLst>
                <a:ext uri="{FF2B5EF4-FFF2-40B4-BE49-F238E27FC236}">
                  <a16:creationId xmlns:a16="http://schemas.microsoft.com/office/drawing/2014/main" id="{48BE7EBE-199E-400B-BA5B-A56975737BD0}"/>
                </a:ext>
              </a:extLst>
            </p:cNvPr>
            <p:cNvSpPr/>
            <p:nvPr/>
          </p:nvSpPr>
          <p:spPr>
            <a:xfrm>
              <a:off x="536844" y="3655248"/>
              <a:ext cx="1577293"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zure</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ognitive Services</a:t>
              </a:r>
            </a:p>
          </p:txBody>
        </p:sp>
        <p:sp>
          <p:nvSpPr>
            <p:cNvPr id="16" name="Rectangle 15">
              <a:extLst>
                <a:ext uri="{FF2B5EF4-FFF2-40B4-BE49-F238E27FC236}">
                  <a16:creationId xmlns:a16="http://schemas.microsoft.com/office/drawing/2014/main" id="{1768E676-A4F8-4D65-A428-CADA4EC76FD9}"/>
                </a:ext>
              </a:extLst>
            </p:cNvPr>
            <p:cNvSpPr/>
            <p:nvPr/>
          </p:nvSpPr>
          <p:spPr>
            <a:xfrm>
              <a:off x="2366852" y="3679939"/>
              <a:ext cx="2299905"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Pre-trained model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NX, CoreML, WindowsML)</a:t>
              </a:r>
            </a:p>
          </p:txBody>
        </p:sp>
        <p:cxnSp>
          <p:nvCxnSpPr>
            <p:cNvPr id="20" name="Straight Arrow Connector 19">
              <a:extLst>
                <a:ext uri="{FF2B5EF4-FFF2-40B4-BE49-F238E27FC236}">
                  <a16:creationId xmlns:a16="http://schemas.microsoft.com/office/drawing/2014/main" id="{5B0C6F45-A733-48FC-A106-FFCAE89BED1B}"/>
                </a:ext>
              </a:extLst>
            </p:cNvPr>
            <p:cNvCxnSpPr>
              <a:cxnSpLocks/>
            </p:cNvCxnSpPr>
            <p:nvPr/>
          </p:nvCxnSpPr>
          <p:spPr>
            <a:xfrm>
              <a:off x="2410290" y="2349961"/>
              <a:ext cx="0" cy="501274"/>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2" name="Straight Connector 71">
              <a:extLst>
                <a:ext uri="{FF2B5EF4-FFF2-40B4-BE49-F238E27FC236}">
                  <a16:creationId xmlns:a16="http://schemas.microsoft.com/office/drawing/2014/main" id="{08A03881-358B-4562-8E8B-8A64484F9716}"/>
                </a:ext>
              </a:extLst>
            </p:cNvPr>
            <p:cNvCxnSpPr>
              <a:cxnSpLocks/>
              <a:endCxn id="65" idx="2"/>
            </p:cNvCxnSpPr>
            <p:nvPr/>
          </p:nvCxnSpPr>
          <p:spPr>
            <a:xfrm flipV="1">
              <a:off x="1275796" y="3428071"/>
              <a:ext cx="2185710" cy="461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5" name="Straight Arrow Connector 74">
              <a:extLst>
                <a:ext uri="{FF2B5EF4-FFF2-40B4-BE49-F238E27FC236}">
                  <a16:creationId xmlns:a16="http://schemas.microsoft.com/office/drawing/2014/main" id="{19989028-A59F-4347-9113-DE19DDEDE5D2}"/>
                </a:ext>
              </a:extLst>
            </p:cNvPr>
            <p:cNvCxnSpPr>
              <a:cxnSpLocks/>
            </p:cNvCxnSpPr>
            <p:nvPr/>
          </p:nvCxnSpPr>
          <p:spPr>
            <a:xfrm>
              <a:off x="1275796" y="3432685"/>
              <a:ext cx="0" cy="222563"/>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9" name="Straight Arrow Connector 78">
              <a:extLst>
                <a:ext uri="{FF2B5EF4-FFF2-40B4-BE49-F238E27FC236}">
                  <a16:creationId xmlns:a16="http://schemas.microsoft.com/office/drawing/2014/main" id="{75FFA7EC-3493-4BF4-8C32-0C0765F98BE0}"/>
                </a:ext>
              </a:extLst>
            </p:cNvPr>
            <p:cNvCxnSpPr>
              <a:cxnSpLocks/>
            </p:cNvCxnSpPr>
            <p:nvPr/>
          </p:nvCxnSpPr>
          <p:spPr>
            <a:xfrm flipH="1">
              <a:off x="3541965" y="3425315"/>
              <a:ext cx="1" cy="263642"/>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Oval 58">
              <a:extLst>
                <a:ext uri="{FF2B5EF4-FFF2-40B4-BE49-F238E27FC236}">
                  <a16:creationId xmlns:a16="http://schemas.microsoft.com/office/drawing/2014/main" id="{6B2A0282-084C-4850-81AD-9EAE63DC7599}"/>
                </a:ext>
              </a:extLst>
            </p:cNvPr>
            <p:cNvSpPr/>
            <p:nvPr/>
          </p:nvSpPr>
          <p:spPr bwMode="auto">
            <a:xfrm>
              <a:off x="2321687" y="2492393"/>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1" name="Oval 60">
              <a:extLst>
                <a:ext uri="{FF2B5EF4-FFF2-40B4-BE49-F238E27FC236}">
                  <a16:creationId xmlns:a16="http://schemas.microsoft.com/office/drawing/2014/main" id="{3D9837FC-53E5-43C8-BA9B-61F92963435D}"/>
                </a:ext>
              </a:extLst>
            </p:cNvPr>
            <p:cNvSpPr/>
            <p:nvPr/>
          </p:nvSpPr>
          <p:spPr bwMode="auto">
            <a:xfrm>
              <a:off x="1203155" y="3344079"/>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5" name="Oval 64">
              <a:extLst>
                <a:ext uri="{FF2B5EF4-FFF2-40B4-BE49-F238E27FC236}">
                  <a16:creationId xmlns:a16="http://schemas.microsoft.com/office/drawing/2014/main" id="{5270ED2A-7E46-4E94-922F-C13F6FF1B1E9}"/>
                </a:ext>
              </a:extLst>
            </p:cNvPr>
            <p:cNvSpPr/>
            <p:nvPr/>
          </p:nvSpPr>
          <p:spPr bwMode="auto">
            <a:xfrm>
              <a:off x="3461506" y="3339469"/>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grpSp>
      <p:grpSp>
        <p:nvGrpSpPr>
          <p:cNvPr id="49" name="Group 48">
            <a:extLst>
              <a:ext uri="{FF2B5EF4-FFF2-40B4-BE49-F238E27FC236}">
                <a16:creationId xmlns:a16="http://schemas.microsoft.com/office/drawing/2014/main" id="{8CF81EB3-38BD-4141-993D-8DB40E0B5892}"/>
              </a:ext>
            </a:extLst>
          </p:cNvPr>
          <p:cNvGrpSpPr/>
          <p:nvPr/>
        </p:nvGrpSpPr>
        <p:grpSpPr>
          <a:xfrm>
            <a:off x="426274" y="6092269"/>
            <a:ext cx="10886556" cy="476220"/>
            <a:chOff x="426274" y="6092269"/>
            <a:chExt cx="10886556" cy="476220"/>
          </a:xfrm>
        </p:grpSpPr>
        <p:sp>
          <p:nvSpPr>
            <p:cNvPr id="47" name="Rectangle 46">
              <a:extLst>
                <a:ext uri="{FF2B5EF4-FFF2-40B4-BE49-F238E27FC236}">
                  <a16:creationId xmlns:a16="http://schemas.microsoft.com/office/drawing/2014/main" id="{71791C15-530A-4E0E-8F19-34CE101CF8B0}"/>
                </a:ext>
              </a:extLst>
            </p:cNvPr>
            <p:cNvSpPr/>
            <p:nvPr/>
          </p:nvSpPr>
          <p:spPr bwMode="auto">
            <a:xfrm>
              <a:off x="426274" y="6092269"/>
              <a:ext cx="10886556" cy="476220"/>
            </a:xfrm>
            <a:prstGeom prst="rect">
              <a:avLst/>
            </a:prstGeom>
            <a:solidFill>
              <a:srgbClr val="68227B">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EAC54AA5-604C-4A8B-B0D6-2FA732598CE9}"/>
                </a:ext>
              </a:extLst>
            </p:cNvPr>
            <p:cNvSpPr/>
            <p:nvPr/>
          </p:nvSpPr>
          <p:spPr>
            <a:xfrm>
              <a:off x="4401626" y="6179515"/>
              <a:ext cx="2646900" cy="301727"/>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isual Studio and .NET</a:t>
              </a:r>
            </a:p>
          </p:txBody>
        </p:sp>
      </p:grpSp>
      <p:grpSp>
        <p:nvGrpSpPr>
          <p:cNvPr id="51" name="Group 50">
            <a:extLst>
              <a:ext uri="{FF2B5EF4-FFF2-40B4-BE49-F238E27FC236}">
                <a16:creationId xmlns:a16="http://schemas.microsoft.com/office/drawing/2014/main" id="{E3A1B9AD-7792-4B72-959F-EF7034CD863F}"/>
              </a:ext>
            </a:extLst>
          </p:cNvPr>
          <p:cNvGrpSpPr/>
          <p:nvPr/>
        </p:nvGrpSpPr>
        <p:grpSpPr>
          <a:xfrm>
            <a:off x="525648" y="4364296"/>
            <a:ext cx="10699565" cy="283674"/>
            <a:chOff x="525648" y="4364296"/>
            <a:chExt cx="10699565" cy="283674"/>
          </a:xfrm>
        </p:grpSpPr>
        <p:sp>
          <p:nvSpPr>
            <p:cNvPr id="50" name="Arrow: Chevron 49">
              <a:extLst>
                <a:ext uri="{FF2B5EF4-FFF2-40B4-BE49-F238E27FC236}">
                  <a16:creationId xmlns:a16="http://schemas.microsoft.com/office/drawing/2014/main" id="{A901D98E-6D84-47DF-A878-634F59183704}"/>
                </a:ext>
              </a:extLst>
            </p:cNvPr>
            <p:cNvSpPr/>
            <p:nvPr/>
          </p:nvSpPr>
          <p:spPr bwMode="auto">
            <a:xfrm>
              <a:off x="525648" y="4371975"/>
              <a:ext cx="10699565" cy="275993"/>
            </a:xfrm>
            <a:prstGeom prst="chevron">
              <a:avLst/>
            </a:prstGeom>
            <a:solidFill>
              <a:srgbClr val="7F4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Rectangle 97">
              <a:extLst>
                <a:ext uri="{FF2B5EF4-FFF2-40B4-BE49-F238E27FC236}">
                  <a16:creationId xmlns:a16="http://schemas.microsoft.com/office/drawing/2014/main" id="{5934FAB9-33F6-4552-A3B8-1E582F6D1119}"/>
                </a:ext>
              </a:extLst>
            </p:cNvPr>
            <p:cNvSpPr/>
            <p:nvPr/>
          </p:nvSpPr>
          <p:spPr>
            <a:xfrm>
              <a:off x="709612" y="4364296"/>
              <a:ext cx="1612075"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Easier / Less control</a:t>
              </a:r>
            </a:p>
          </p:txBody>
        </p:sp>
        <p:sp>
          <p:nvSpPr>
            <p:cNvPr id="99" name="Rectangle 98">
              <a:extLst>
                <a:ext uri="{FF2B5EF4-FFF2-40B4-BE49-F238E27FC236}">
                  <a16:creationId xmlns:a16="http://schemas.microsoft.com/office/drawing/2014/main" id="{D7B468F6-8BF6-4A4B-B6FC-5B093D2D7B39}"/>
                </a:ext>
              </a:extLst>
            </p:cNvPr>
            <p:cNvSpPr/>
            <p:nvPr/>
          </p:nvSpPr>
          <p:spPr>
            <a:xfrm>
              <a:off x="9293615" y="4370971"/>
              <a:ext cx="1807705"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Harder / Full control</a:t>
              </a:r>
            </a:p>
          </p:txBody>
        </p:sp>
      </p:grpSp>
      <p:grpSp>
        <p:nvGrpSpPr>
          <p:cNvPr id="9" name="Group 8">
            <a:extLst>
              <a:ext uri="{FF2B5EF4-FFF2-40B4-BE49-F238E27FC236}">
                <a16:creationId xmlns:a16="http://schemas.microsoft.com/office/drawing/2014/main" id="{BE7A76F7-DF19-4B92-8798-1F822F3505D7}"/>
              </a:ext>
            </a:extLst>
          </p:cNvPr>
          <p:cNvGrpSpPr/>
          <p:nvPr/>
        </p:nvGrpSpPr>
        <p:grpSpPr>
          <a:xfrm>
            <a:off x="2410290" y="2487334"/>
            <a:ext cx="8403766" cy="1926632"/>
            <a:chOff x="2410290" y="2487334"/>
            <a:chExt cx="8403766" cy="1926632"/>
          </a:xfrm>
        </p:grpSpPr>
        <p:sp>
          <p:nvSpPr>
            <p:cNvPr id="21" name="Rectangle 20">
              <a:extLst>
                <a:ext uri="{FF2B5EF4-FFF2-40B4-BE49-F238E27FC236}">
                  <a16:creationId xmlns:a16="http://schemas.microsoft.com/office/drawing/2014/main" id="{0FBC66A0-88B5-4E8C-BCC0-0D38362F165B}"/>
                </a:ext>
              </a:extLst>
            </p:cNvPr>
            <p:cNvSpPr/>
            <p:nvPr/>
          </p:nvSpPr>
          <p:spPr>
            <a:xfrm>
              <a:off x="5201407" y="2815525"/>
              <a:ext cx="1503172" cy="473335"/>
            </a:xfrm>
            <a:prstGeom prst="rect">
              <a:avLst/>
            </a:prstGeom>
            <a:noFill/>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00" b="1"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Build your own </a:t>
              </a:r>
              <a:r>
                <a:rPr kumimoji="0" lang="en-US" sz="1176"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ustom AI)</a:t>
              </a:r>
            </a:p>
          </p:txBody>
        </p:sp>
        <p:sp>
          <p:nvSpPr>
            <p:cNvPr id="38" name="Rectangle 37">
              <a:extLst>
                <a:ext uri="{FF2B5EF4-FFF2-40B4-BE49-F238E27FC236}">
                  <a16:creationId xmlns:a16="http://schemas.microsoft.com/office/drawing/2014/main" id="{F9AFDB7F-6D9E-46C3-9E3A-E20C3D798ECF}"/>
                </a:ext>
              </a:extLst>
            </p:cNvPr>
            <p:cNvSpPr/>
            <p:nvPr/>
          </p:nvSpPr>
          <p:spPr>
            <a:xfrm>
              <a:off x="7365283" y="3698161"/>
              <a:ext cx="1233941" cy="25821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ML.NET</a:t>
              </a:r>
            </a:p>
          </p:txBody>
        </p:sp>
        <p:sp>
          <p:nvSpPr>
            <p:cNvPr id="39" name="Rectangle 38">
              <a:extLst>
                <a:ext uri="{FF2B5EF4-FFF2-40B4-BE49-F238E27FC236}">
                  <a16:creationId xmlns:a16="http://schemas.microsoft.com/office/drawing/2014/main" id="{5B0C3124-7794-4ED8-8DED-BF733F8F5D9B}"/>
                </a:ext>
              </a:extLst>
            </p:cNvPr>
            <p:cNvSpPr/>
            <p:nvPr/>
          </p:nvSpPr>
          <p:spPr>
            <a:xfrm>
              <a:off x="9663332" y="3658118"/>
              <a:ext cx="1150724" cy="755848"/>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ensorFlow,</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NTK,</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orch,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NX</a:t>
              </a:r>
              <a:r>
                <a:rPr kumimoji="0" lang="en-US" sz="1000"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etc..</a:t>
              </a:r>
            </a:p>
          </p:txBody>
        </p:sp>
        <p:cxnSp>
          <p:nvCxnSpPr>
            <p:cNvPr id="56" name="Connector: Elbow 55">
              <a:extLst>
                <a:ext uri="{FF2B5EF4-FFF2-40B4-BE49-F238E27FC236}">
                  <a16:creationId xmlns:a16="http://schemas.microsoft.com/office/drawing/2014/main" id="{8010F7F8-3BF2-4617-AFB0-5C3736578204}"/>
                </a:ext>
              </a:extLst>
            </p:cNvPr>
            <p:cNvCxnSpPr>
              <a:cxnSpLocks/>
            </p:cNvCxnSpPr>
            <p:nvPr/>
          </p:nvCxnSpPr>
          <p:spPr>
            <a:xfrm rot="16200000" flipH="1">
              <a:off x="6692132" y="2403746"/>
              <a:ext cx="443142" cy="2059861"/>
            </a:xfrm>
            <a:prstGeom prst="bentConnector3">
              <a:avLst>
                <a:gd name="adj1" fmla="val 50000"/>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26450CBE-DEA0-413B-873C-83DCA5336080}"/>
                </a:ext>
              </a:extLst>
            </p:cNvPr>
            <p:cNvCxnSpPr/>
            <p:nvPr/>
          </p:nvCxnSpPr>
          <p:spPr>
            <a:xfrm>
              <a:off x="2410290" y="2580995"/>
              <a:ext cx="3497034"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Straight Arrow Connector 62">
              <a:extLst>
                <a:ext uri="{FF2B5EF4-FFF2-40B4-BE49-F238E27FC236}">
                  <a16:creationId xmlns:a16="http://schemas.microsoft.com/office/drawing/2014/main" id="{D47AECBE-21E8-411B-B21D-F471D032F22B}"/>
                </a:ext>
              </a:extLst>
            </p:cNvPr>
            <p:cNvCxnSpPr>
              <a:cxnSpLocks/>
            </p:cNvCxnSpPr>
            <p:nvPr/>
          </p:nvCxnSpPr>
          <p:spPr>
            <a:xfrm>
              <a:off x="5902400" y="2580995"/>
              <a:ext cx="0" cy="27024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9" name="Straight Arrow Connector 88">
              <a:extLst>
                <a:ext uri="{FF2B5EF4-FFF2-40B4-BE49-F238E27FC236}">
                  <a16:creationId xmlns:a16="http://schemas.microsoft.com/office/drawing/2014/main" id="{9307636A-FD72-409F-A0E2-EFDF2A87715A}"/>
                </a:ext>
              </a:extLst>
            </p:cNvPr>
            <p:cNvCxnSpPr/>
            <p:nvPr/>
          </p:nvCxnSpPr>
          <p:spPr>
            <a:xfrm>
              <a:off x="5883771" y="3396844"/>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 name="Straight Arrow Connector 89">
              <a:extLst>
                <a:ext uri="{FF2B5EF4-FFF2-40B4-BE49-F238E27FC236}">
                  <a16:creationId xmlns:a16="http://schemas.microsoft.com/office/drawing/2014/main" id="{C1D2E466-5416-4445-944D-8800D2D6B390}"/>
                </a:ext>
              </a:extLst>
            </p:cNvPr>
            <p:cNvCxnSpPr/>
            <p:nvPr/>
          </p:nvCxnSpPr>
          <p:spPr>
            <a:xfrm>
              <a:off x="7943634" y="3431236"/>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Oval 59">
              <a:extLst>
                <a:ext uri="{FF2B5EF4-FFF2-40B4-BE49-F238E27FC236}">
                  <a16:creationId xmlns:a16="http://schemas.microsoft.com/office/drawing/2014/main" id="{C962BA81-0B78-4EAF-95B0-43318162B8B9}"/>
                </a:ext>
              </a:extLst>
            </p:cNvPr>
            <p:cNvSpPr/>
            <p:nvPr/>
          </p:nvSpPr>
          <p:spPr bwMode="auto">
            <a:xfrm>
              <a:off x="5795922" y="2487334"/>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6" name="Oval 65">
              <a:extLst>
                <a:ext uri="{FF2B5EF4-FFF2-40B4-BE49-F238E27FC236}">
                  <a16:creationId xmlns:a16="http://schemas.microsoft.com/office/drawing/2014/main" id="{43241F64-4B53-46EA-B470-CCDEA623F13B}"/>
                </a:ext>
              </a:extLst>
            </p:cNvPr>
            <p:cNvSpPr/>
            <p:nvPr/>
          </p:nvSpPr>
          <p:spPr bwMode="auto">
            <a:xfrm>
              <a:off x="5813538" y="3339930"/>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382BE5E1-C8FC-40DA-A960-90DB2891B752}"/>
                </a:ext>
              </a:extLst>
            </p:cNvPr>
            <p:cNvSpPr/>
            <p:nvPr/>
          </p:nvSpPr>
          <p:spPr bwMode="auto">
            <a:xfrm>
              <a:off x="7855033" y="3344083"/>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cxnSp>
          <p:nvCxnSpPr>
            <p:cNvPr id="52" name="Connector: Elbow 51">
              <a:extLst>
                <a:ext uri="{FF2B5EF4-FFF2-40B4-BE49-F238E27FC236}">
                  <a16:creationId xmlns:a16="http://schemas.microsoft.com/office/drawing/2014/main" id="{A66BDE53-D01A-4B11-A6B7-81FE7756424E}"/>
                </a:ext>
              </a:extLst>
            </p:cNvPr>
            <p:cNvCxnSpPr>
              <a:cxnSpLocks/>
              <a:stCxn id="67" idx="6"/>
            </p:cNvCxnSpPr>
            <p:nvPr/>
          </p:nvCxnSpPr>
          <p:spPr>
            <a:xfrm>
              <a:off x="8032237" y="3432685"/>
              <a:ext cx="2044490" cy="1754"/>
            </a:xfrm>
            <a:prstGeom prst="bentConnector3">
              <a:avLst>
                <a:gd name="adj1" fmla="val 50000"/>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Straight Arrow Connector 53">
              <a:extLst>
                <a:ext uri="{FF2B5EF4-FFF2-40B4-BE49-F238E27FC236}">
                  <a16:creationId xmlns:a16="http://schemas.microsoft.com/office/drawing/2014/main" id="{E12B56F9-331C-4D58-9387-38F1E71A9DB4}"/>
                </a:ext>
              </a:extLst>
            </p:cNvPr>
            <p:cNvCxnSpPr/>
            <p:nvPr/>
          </p:nvCxnSpPr>
          <p:spPr>
            <a:xfrm>
              <a:off x="10095097" y="3438264"/>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5" name="Oval 54">
              <a:extLst>
                <a:ext uri="{FF2B5EF4-FFF2-40B4-BE49-F238E27FC236}">
                  <a16:creationId xmlns:a16="http://schemas.microsoft.com/office/drawing/2014/main" id="{27BC5AE7-E58F-468A-B7EA-84D4F756602D}"/>
                </a:ext>
              </a:extLst>
            </p:cNvPr>
            <p:cNvSpPr/>
            <p:nvPr/>
          </p:nvSpPr>
          <p:spPr bwMode="auto">
            <a:xfrm>
              <a:off x="10006496" y="3351111"/>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57" name="Rectangle 56">
              <a:extLst>
                <a:ext uri="{FF2B5EF4-FFF2-40B4-BE49-F238E27FC236}">
                  <a16:creationId xmlns:a16="http://schemas.microsoft.com/office/drawing/2014/main" id="{57F5398B-9E2D-408F-BCBE-1F80ECE7AD51}"/>
                </a:ext>
              </a:extLst>
            </p:cNvPr>
            <p:cNvSpPr/>
            <p:nvPr/>
          </p:nvSpPr>
          <p:spPr>
            <a:xfrm>
              <a:off x="5336022" y="3698891"/>
              <a:ext cx="1233941" cy="58997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zure Machine Learning</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Studio</a:t>
              </a:r>
            </a:p>
          </p:txBody>
        </p:sp>
      </p:grpSp>
      <p:cxnSp>
        <p:nvCxnSpPr>
          <p:cNvPr id="74" name="Straight Arrow Connector 73">
            <a:extLst>
              <a:ext uri="{FF2B5EF4-FFF2-40B4-BE49-F238E27FC236}">
                <a16:creationId xmlns:a16="http://schemas.microsoft.com/office/drawing/2014/main" id="{8E5BD21E-6606-4D7D-961E-A2BEDF54ADBC}"/>
              </a:ext>
            </a:extLst>
          </p:cNvPr>
          <p:cNvCxnSpPr>
            <a:cxnSpLocks/>
          </p:cNvCxnSpPr>
          <p:nvPr/>
        </p:nvCxnSpPr>
        <p:spPr>
          <a:xfrm>
            <a:off x="8314881" y="3788019"/>
            <a:ext cx="134027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5FC58DF-1D07-44D6-BDB7-DE7A9A2E1C9D}"/>
              </a:ext>
            </a:extLst>
          </p:cNvPr>
          <p:cNvCxnSpPr>
            <a:cxnSpLocks/>
          </p:cNvCxnSpPr>
          <p:nvPr/>
        </p:nvCxnSpPr>
        <p:spPr>
          <a:xfrm>
            <a:off x="8314881" y="3788019"/>
            <a:ext cx="1340274" cy="1768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0665095-D312-4576-A761-3DCE962A1F44}"/>
              </a:ext>
            </a:extLst>
          </p:cNvPr>
          <p:cNvCxnSpPr>
            <a:cxnSpLocks/>
          </p:cNvCxnSpPr>
          <p:nvPr/>
        </p:nvCxnSpPr>
        <p:spPr>
          <a:xfrm>
            <a:off x="8314881" y="3788019"/>
            <a:ext cx="1340274" cy="3449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67425E45-17E4-4F8E-AAE5-BE09645518BE}"/>
              </a:ext>
            </a:extLst>
          </p:cNvPr>
          <p:cNvSpPr/>
          <p:nvPr/>
        </p:nvSpPr>
        <p:spPr>
          <a:xfrm>
            <a:off x="8621597" y="3571739"/>
            <a:ext cx="972490" cy="23083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Integration</a:t>
            </a:r>
          </a:p>
        </p:txBody>
      </p:sp>
    </p:spTree>
    <p:extLst>
      <p:ext uri="{BB962C8B-B14F-4D97-AF65-F5344CB8AC3E}">
        <p14:creationId xmlns:p14="http://schemas.microsoft.com/office/powerpoint/2010/main" val="389204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wipe(left)">
                                      <p:cBhvr>
                                        <p:cTn id="12" dur="10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par>
                          <p:cTn id="18" fill="hold">
                            <p:stCondLst>
                              <p:cond delay="500"/>
                            </p:stCondLst>
                            <p:childTnLst>
                              <p:par>
                                <p:cTn id="19" presetID="22" presetClass="entr" presetSubtype="8" fill="hold" nodeType="afterEffect">
                                  <p:stCondLst>
                                    <p:cond delay="1000"/>
                                  </p:stCondLst>
                                  <p:childTnLst>
                                    <p:set>
                                      <p:cBhvr>
                                        <p:cTn id="20" dur="1" fill="hold">
                                          <p:stCondLst>
                                            <p:cond delay="0"/>
                                          </p:stCondLst>
                                        </p:cTn>
                                        <p:tgtEl>
                                          <p:spTgt spid="74"/>
                                        </p:tgtEl>
                                        <p:attrNameLst>
                                          <p:attrName>style.visibility</p:attrName>
                                        </p:attrNameLst>
                                      </p:cBhvr>
                                      <p:to>
                                        <p:strVal val="visible"/>
                                      </p:to>
                                    </p:set>
                                    <p:animEffect transition="in" filter="wipe(left)">
                                      <p:cBhvr>
                                        <p:cTn id="21" dur="500"/>
                                        <p:tgtEl>
                                          <p:spTgt spid="74"/>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wipe(left)">
                                      <p:cBhvr>
                                        <p:cTn id="25" dur="500"/>
                                        <p:tgtEl>
                                          <p:spTgt spid="76"/>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wipe(left)">
                                      <p:cBhvr>
                                        <p:cTn id="29" dur="500"/>
                                        <p:tgtEl>
                                          <p:spTgt spid="77"/>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78"/>
                                        </p:tgtEl>
                                        <p:attrNameLst>
                                          <p:attrName>style.visibility</p:attrName>
                                        </p:attrNameLst>
                                      </p:cBhvr>
                                      <p:to>
                                        <p:strVal val="visible"/>
                                      </p:to>
                                    </p:set>
                                    <p:animEffect transition="in" filter="fade">
                                      <p:cBhvr>
                                        <p:cTn id="33" dur="500"/>
                                        <p:tgtEl>
                                          <p:spTgt spid="78"/>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1000"/>
                                        <p:tgtEl>
                                          <p:spTgt spid="28"/>
                                        </p:tgtEl>
                                      </p:cBhvr>
                                    </p:animEffect>
                                    <p:anim calcmode="lin" valueType="num">
                                      <p:cBhvr>
                                        <p:cTn id="39" dur="1000" fill="hold"/>
                                        <p:tgtEl>
                                          <p:spTgt spid="28"/>
                                        </p:tgtEl>
                                        <p:attrNameLst>
                                          <p:attrName>ppt_x</p:attrName>
                                        </p:attrNameLst>
                                      </p:cBhvr>
                                      <p:tavLst>
                                        <p:tav tm="0">
                                          <p:val>
                                            <p:strVal val="#ppt_x"/>
                                          </p:val>
                                        </p:tav>
                                        <p:tav tm="100000">
                                          <p:val>
                                            <p:strVal val="#ppt_x"/>
                                          </p:val>
                                        </p:tav>
                                      </p:tavLst>
                                    </p:anim>
                                    <p:anim calcmode="lin" valueType="num">
                                      <p:cBhvr>
                                        <p:cTn id="40" dur="1000" fill="hold"/>
                                        <p:tgtEl>
                                          <p:spTgt spid="28"/>
                                        </p:tgtEl>
                                        <p:attrNameLst>
                                          <p:attrName>ppt_y</p:attrName>
                                        </p:attrNameLst>
                                      </p:cBhvr>
                                      <p:tavLst>
                                        <p:tav tm="0">
                                          <p:val>
                                            <p:strVal val="#ppt_y+.1"/>
                                          </p:val>
                                        </p:tav>
                                        <p:tav tm="100000">
                                          <p:val>
                                            <p:strVal val="#ppt_y"/>
                                          </p:val>
                                        </p:tav>
                                      </p:tavLst>
                                    </p:anim>
                                  </p:childTnLst>
                                </p:cTn>
                              </p:par>
                            </p:childTnLst>
                          </p:cTn>
                        </p:par>
                        <p:par>
                          <p:cTn id="41" fill="hold">
                            <p:stCondLst>
                              <p:cond delay="1000"/>
                            </p:stCondLst>
                            <p:childTnLst>
                              <p:par>
                                <p:cTn id="42" presetID="2" presetClass="entr" presetSubtype="4" fill="hold" nodeType="afterEffect">
                                  <p:stCondLst>
                                    <p:cond delay="0"/>
                                  </p:stCondLst>
                                  <p:childTnLst>
                                    <p:set>
                                      <p:cBhvr>
                                        <p:cTn id="43" dur="1" fill="hold">
                                          <p:stCondLst>
                                            <p:cond delay="0"/>
                                          </p:stCondLst>
                                        </p:cTn>
                                        <p:tgtEl>
                                          <p:spTgt spid="49"/>
                                        </p:tgtEl>
                                        <p:attrNameLst>
                                          <p:attrName>style.visibility</p:attrName>
                                        </p:attrNameLst>
                                      </p:cBhvr>
                                      <p:to>
                                        <p:strVal val="visible"/>
                                      </p:to>
                                    </p:set>
                                    <p:anim calcmode="lin" valueType="num">
                                      <p:cBhvr additive="base">
                                        <p:cTn id="44" dur="500" fill="hold"/>
                                        <p:tgtEl>
                                          <p:spTgt spid="49"/>
                                        </p:tgtEl>
                                        <p:attrNameLst>
                                          <p:attrName>ppt_x</p:attrName>
                                        </p:attrNameLst>
                                      </p:cBhvr>
                                      <p:tavLst>
                                        <p:tav tm="0">
                                          <p:val>
                                            <p:strVal val="#ppt_x"/>
                                          </p:val>
                                        </p:tav>
                                        <p:tav tm="100000">
                                          <p:val>
                                            <p:strVal val="#ppt_x"/>
                                          </p:val>
                                        </p:tav>
                                      </p:tavLst>
                                    </p:anim>
                                    <p:anim calcmode="lin" valueType="num">
                                      <p:cBhvr additive="base">
                                        <p:cTn id="45"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otnet_Template">
  <a:themeElements>
    <a:clrScheme name="Dotnet">
      <a:dk1>
        <a:srgbClr val="505050"/>
      </a:dk1>
      <a:lt1>
        <a:srgbClr val="FFFFFF"/>
      </a:lt1>
      <a:dk2>
        <a:srgbClr val="32145A"/>
      </a:dk2>
      <a:lt2>
        <a:srgbClr val="F2F2F2"/>
      </a:lt2>
      <a:accent1>
        <a:srgbClr val="511C74"/>
      </a:accent1>
      <a:accent2>
        <a:srgbClr val="0078D7"/>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3.xml><?xml version="1.0" encoding="utf-8"?>
<a:theme xmlns:a="http://schemas.openxmlformats.org/drawingml/2006/main" name="1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2017_Final_101117.potx" id="{23E4E62B-6B78-4EA4-A9A8-DFDAC476AD16}" vid="{1A7D0CCB-F126-4FFD-A125-29ED67511E4F}"/>
    </a:ext>
  </a:extLst>
</a:theme>
</file>

<file path=ppt/theme/theme5.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6.xml><?xml version="1.0" encoding="utf-8"?>
<a:theme xmlns:a="http://schemas.openxmlformats.org/drawingml/2006/main" name="6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harePoint 15">
  <a:themeElements>
    <a:clrScheme name="Turing">
      <a:dk1>
        <a:srgbClr val="595959"/>
      </a:dk1>
      <a:lt1>
        <a:srgbClr val="FFFFFF"/>
      </a:lt1>
      <a:dk2>
        <a:srgbClr val="595959"/>
      </a:dk2>
      <a:lt2>
        <a:srgbClr val="FFFFFF"/>
      </a:lt2>
      <a:accent1>
        <a:srgbClr val="76C79F"/>
      </a:accent1>
      <a:accent2>
        <a:srgbClr val="FF9D61"/>
      </a:accent2>
      <a:accent3>
        <a:srgbClr val="82CAFF"/>
      </a:accent3>
      <a:accent4>
        <a:srgbClr val="FFC011"/>
      </a:accent4>
      <a:accent5>
        <a:srgbClr val="FCD384"/>
      </a:accent5>
      <a:accent6>
        <a:srgbClr val="797A7D"/>
      </a:accent6>
      <a:hlink>
        <a:srgbClr val="0070C0"/>
      </a:hlink>
      <a:folHlink>
        <a:srgbClr val="43A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Presentation1" id="{49FE8F09-0BC1-41C2-8E3F-D49898BA4E2D}" vid="{2F15D7E7-ACED-458D-A10F-D2026437DDEF}"/>
    </a:ext>
  </a:extLst>
</a:theme>
</file>

<file path=ppt/theme/theme8.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9.xml><?xml version="1.0" encoding="utf-8"?>
<a:theme xmlns:a="http://schemas.openxmlformats.org/drawingml/2006/main" name="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Properties xmlns="http://schemas.microsoft.com/sharepoint/v3" xsi:nil="true"/>
    <_ip_UnifiedCompliancePolicyUIAction xmlns="http://schemas.microsoft.com/sharepoint/v3" xsi:nil="true"/>
    <LastSharedByUser xmlns="11245976-3b4d-4794-a754-317688483df2">jogallow@microsoft.com</LastSharedByUser>
    <SharedWithUsers xmlns="11245976-3b4d-4794-a754-317688483df2">
      <UserInfo>
        <DisplayName>Martin Woodward</DisplayName>
        <AccountId>67</AccountId>
        <AccountType/>
      </UserInfo>
    </SharedWithUsers>
    <LastSharedByTime xmlns="11245976-3b4d-4794-a754-317688483df2">2018-03-16T04:12:59+00:00</LastSharedByTim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2F88B0CCF1BBA489747F146E6B5E06D" ma:contentTypeVersion="11" ma:contentTypeDescription="Create a new document." ma:contentTypeScope="" ma:versionID="4679f38185fefde8b23806f702b522cc">
  <xsd:schema xmlns:xsd="http://www.w3.org/2001/XMLSchema" xmlns:xs="http://www.w3.org/2001/XMLSchema" xmlns:p="http://schemas.microsoft.com/office/2006/metadata/properties" xmlns:ns1="http://schemas.microsoft.com/sharepoint/v3" xmlns:ns2="569b343d-e775-480b-9b2b-6a6986deb9b0" xmlns:ns3="11245976-3b4d-4794-a754-317688483df2" targetNamespace="http://schemas.microsoft.com/office/2006/metadata/properties" ma:root="true" ma:fieldsID="366371b317520ec9a5ad3c1303c823ef" ns1:_="" ns2:_="" ns3:_="">
    <xsd:import namespace="http://schemas.microsoft.com/sharepoint/v3"/>
    <xsd:import namespace="569b343d-e775-480b-9b2b-6a6986deb9b0"/>
    <xsd:import namespace="11245976-3b4d-4794-a754-317688483df2"/>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description="" ma:hidden="true" ma:internalName="_ip_UnifiedCompliancePolicyProperties">
      <xsd:simpleType>
        <xsd:restriction base="dms:Note"/>
      </xsd:simpleType>
    </xsd:element>
    <xsd:element name="_ip_UnifiedCompliancePolicyUIAction" ma:index="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b343d-e775-480b-9b2b-6a6986deb9b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OCR" ma:index="17" nillable="true" ma:displayName="MediaServiceOCR" ma:description=""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245976-3b4d-4794-a754-317688483df2"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element name="LastSharedByUser" ma:index="15" nillable="true" ma:displayName="Last Shared By User" ma:description="" ma:hidden="true" ma:internalName="LastSharedByUser" ma:readOnly="true">
      <xsd:simpleType>
        <xsd:restriction base="dms:Note"/>
      </xsd:simpleType>
    </xsd:element>
    <xsd:element name="LastSharedByTime" ma:index="16"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3E43D6-DB2F-4C33-A8C8-D28F777A5DE7}">
  <ds:schemaRefs>
    <ds:schemaRef ds:uri="http://schemas.microsoft.com/sharepoint/v3"/>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11245976-3b4d-4794-a754-317688483df2"/>
    <ds:schemaRef ds:uri="569b343d-e775-480b-9b2b-6a6986deb9b0"/>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16E8CB18-CF19-487B-A6ED-834044BC87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69b343d-e775-480b-9b2b-6a6986deb9b0"/>
    <ds:schemaRef ds:uri="11245976-3b4d-4794-a754-317688483d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3821A7-5528-48BE-BD00-067FBFDD28D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60</TotalTime>
  <Words>3486</Words>
  <Application>Microsoft Office PowerPoint</Application>
  <PresentationFormat>Widescreen</PresentationFormat>
  <Paragraphs>481</Paragraphs>
  <Slides>30</Slides>
  <Notes>30</Notes>
  <HiddenSlides>0</HiddenSlides>
  <MMClips>0</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30</vt:i4>
      </vt:variant>
    </vt:vector>
  </HeadingPairs>
  <TitlesOfParts>
    <vt:vector size="53" baseType="lpstr">
      <vt:lpstr>ＭＳ Ｐゴシック</vt:lpstr>
      <vt:lpstr>Segoe Pro Display Light</vt:lpstr>
      <vt:lpstr>Segoe Semibold</vt:lpstr>
      <vt:lpstr>Arial</vt:lpstr>
      <vt:lpstr>Calibri</vt:lpstr>
      <vt:lpstr>Calibri Light</vt:lpstr>
      <vt:lpstr>Consolas</vt:lpstr>
      <vt:lpstr>Segoe UI</vt:lpstr>
      <vt:lpstr>Segoe UI Light</vt:lpstr>
      <vt:lpstr>Segoe UI Semibold</vt:lpstr>
      <vt:lpstr>Segoe UI Semilight</vt:lpstr>
      <vt:lpstr>Wingdings</vt:lpstr>
      <vt:lpstr>Wingdings 2</vt:lpstr>
      <vt:lpstr>Dotnet_Template</vt:lpstr>
      <vt:lpstr>5-50201_Microsoft_Ready_Template</vt:lpstr>
      <vt:lpstr>1_Office Theme</vt:lpstr>
      <vt:lpstr>Microsoft_Light_Template</vt:lpstr>
      <vt:lpstr>5-50195_Microsoft_Build_Template</vt:lpstr>
      <vt:lpstr>6_Office Theme</vt:lpstr>
      <vt:lpstr>1_SharePoint 15</vt:lpstr>
      <vt:lpstr>1_5-50201_Microsoft_Ready_Template</vt:lpstr>
      <vt:lpstr>6-30537_Envision 2016 Keynote Template</vt:lpstr>
      <vt:lpstr>think-cell Slide</vt:lpstr>
      <vt:lpstr>Artificial Intelligence and Machine Learning for Every .NET Developer</vt:lpstr>
      <vt:lpstr>What is Machine Learning?</vt:lpstr>
      <vt:lpstr>PowerPoint Presentation</vt:lpstr>
      <vt:lpstr>PowerPoint Presentation</vt:lpstr>
      <vt:lpstr>What problems can you solve with Machine Learning?</vt:lpstr>
      <vt:lpstr>Many Machine Learning Tasks!</vt:lpstr>
      <vt:lpstr>“Democratize Machine Learning and  AI in general, for developers”</vt:lpstr>
      <vt:lpstr>What AI, Machine Learning and Deep Learning technologies can you use in  .NET applications? </vt:lpstr>
      <vt:lpstr>AI &amp; ML portfolio for .NET applications </vt:lpstr>
      <vt:lpstr>Pre-built AI: Using Azure Cognitive Services  in .NET applications </vt:lpstr>
      <vt:lpstr>PowerPoint Presentation</vt:lpstr>
      <vt:lpstr>PowerPoint Presentation</vt:lpstr>
      <vt:lpstr>Custom Machine Learning: Using ML.NET </vt:lpstr>
      <vt:lpstr>Is pre-trained/pre-built Machine Learning enough for you? i.e. Azure Cognitive Services, etc. </vt:lpstr>
      <vt:lpstr>Pre-built ML Models (Azure Cognitive Services)</vt:lpstr>
      <vt:lpstr>Pre-built ML Models (Azure Cognitive Services)</vt:lpstr>
      <vt:lpstr>Build your own (custom) ML Models</vt:lpstr>
      <vt:lpstr>Processes for Building your own (custom) ML Models</vt:lpstr>
      <vt:lpstr>Introducing ML.NET</vt:lpstr>
      <vt:lpstr>ML.NET is a framework for custom ML</vt:lpstr>
      <vt:lpstr>PowerPoint Presentation</vt:lpstr>
      <vt:lpstr>Mapping from Problems to ML Tasks</vt:lpstr>
      <vt:lpstr>PowerPoint Presentation</vt:lpstr>
      <vt:lpstr>PowerPoint Presentation</vt:lpstr>
      <vt:lpstr>Democratize Machine Learning custom models  for .NET developers with a framework and tools especially tailored for developers</vt:lpstr>
      <vt:lpstr>PowerPoint Presentation</vt:lpstr>
      <vt:lpstr>Azure Stream Analytics</vt:lpstr>
      <vt:lpstr>.NET extensibility in ASA on IoT Edge</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th Massi</dc:creator>
  <cp:lastModifiedBy>Eng Teong Cheah</cp:lastModifiedBy>
  <cp:revision>43</cp:revision>
  <dcterms:created xsi:type="dcterms:W3CDTF">2018-01-09T22:22:16Z</dcterms:created>
  <dcterms:modified xsi:type="dcterms:W3CDTF">2018-11-28T09:5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F88B0CCF1BBA489747F146E6B5E06D</vt:lpwstr>
  </property>
  <property fmtid="{D5CDD505-2E9C-101B-9397-08002B2CF9AE}" pid="3" name="MSIP_Label_87867195-f2b8-4ac2-b0b6-6bb73cb33afc_Enabled">
    <vt:lpwstr>True</vt:lpwstr>
  </property>
  <property fmtid="{D5CDD505-2E9C-101B-9397-08002B2CF9AE}" pid="4" name="MSIP_Label_87867195-f2b8-4ac2-b0b6-6bb73cb33afc_SiteId">
    <vt:lpwstr>72f988bf-86f1-41af-91ab-2d7cd011db47</vt:lpwstr>
  </property>
  <property fmtid="{D5CDD505-2E9C-101B-9397-08002B2CF9AE}" pid="5" name="MSIP_Label_87867195-f2b8-4ac2-b0b6-6bb73cb33afc_Owner">
    <vt:lpwstr>v-kaenge@microsoft.com</vt:lpwstr>
  </property>
  <property fmtid="{D5CDD505-2E9C-101B-9397-08002B2CF9AE}" pid="6" name="MSIP_Label_87867195-f2b8-4ac2-b0b6-6bb73cb33afc_SetDate">
    <vt:lpwstr>2018-09-13T18:04:07.2536623Z</vt:lpwstr>
  </property>
  <property fmtid="{D5CDD505-2E9C-101B-9397-08002B2CF9AE}" pid="7" name="MSIP_Label_87867195-f2b8-4ac2-b0b6-6bb73cb33afc_Name">
    <vt:lpwstr>Public</vt:lpwstr>
  </property>
  <property fmtid="{D5CDD505-2E9C-101B-9397-08002B2CF9AE}" pid="8" name="MSIP_Label_87867195-f2b8-4ac2-b0b6-6bb73cb33afc_Application">
    <vt:lpwstr>Microsoft Azure Information Protection</vt:lpwstr>
  </property>
  <property fmtid="{D5CDD505-2E9C-101B-9397-08002B2CF9AE}" pid="9" name="MSIP_Label_87867195-f2b8-4ac2-b0b6-6bb73cb33afc_Extended_MSFT_Method">
    <vt:lpwstr>Manual</vt:lpwstr>
  </property>
  <property fmtid="{D5CDD505-2E9C-101B-9397-08002B2CF9AE}" pid="10" name="Sensitivity">
    <vt:lpwstr>Public</vt:lpwstr>
  </property>
</Properties>
</file>